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2"/>
  </p:notesMasterIdLst>
  <p:sldIdLst>
    <p:sldId id="258" r:id="rId2"/>
    <p:sldId id="267" r:id="rId3"/>
    <p:sldId id="263" r:id="rId4"/>
    <p:sldId id="288" r:id="rId5"/>
    <p:sldId id="289" r:id="rId6"/>
    <p:sldId id="268" r:id="rId7"/>
    <p:sldId id="269" r:id="rId8"/>
    <p:sldId id="270" r:id="rId9"/>
    <p:sldId id="271" r:id="rId10"/>
    <p:sldId id="272" r:id="rId11"/>
    <p:sldId id="273" r:id="rId12"/>
    <p:sldId id="274" r:id="rId13"/>
    <p:sldId id="275" r:id="rId14"/>
    <p:sldId id="276" r:id="rId15"/>
    <p:sldId id="277" r:id="rId16"/>
    <p:sldId id="281" r:id="rId17"/>
    <p:sldId id="284" r:id="rId18"/>
    <p:sldId id="285" r:id="rId19"/>
    <p:sldId id="291" r:id="rId20"/>
    <p:sldId id="290" r:id="rId21"/>
  </p:sldIdLst>
  <p:sldSz cx="9144000" cy="6858000" type="screen4x3"/>
  <p:notesSz cx="7010400" cy="9296400"/>
  <p:custDataLst>
    <p:tags r:id="rId23"/>
  </p:custDataLst>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29">
          <p15:clr>
            <a:srgbClr val="A4A3A4"/>
          </p15:clr>
        </p15:guide>
        <p15:guide id="2" orient="horz" pos="810">
          <p15:clr>
            <a:srgbClr val="A4A3A4"/>
          </p15:clr>
        </p15:guide>
        <p15:guide id="3" orient="horz" pos="1493">
          <p15:clr>
            <a:srgbClr val="A4A3A4"/>
          </p15:clr>
        </p15:guide>
        <p15:guide id="4" pos="470">
          <p15:clr>
            <a:srgbClr val="A4A3A4"/>
          </p15:clr>
        </p15:guide>
        <p15:guide id="5" pos="132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EAEE"/>
    <a:srgbClr val="CED2DC"/>
    <a:srgbClr val="CED2D2"/>
    <a:srgbClr val="FEF6F0"/>
    <a:srgbClr val="FBD5B5"/>
    <a:srgbClr val="B8CCE4"/>
    <a:srgbClr val="68CCE4"/>
    <a:srgbClr val="B9CDE5"/>
    <a:srgbClr val="95B3D7"/>
    <a:srgbClr val="1BA3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17" autoAdjust="0"/>
    <p:restoredTop sz="94639" autoAdjust="0"/>
  </p:normalViewPr>
  <p:slideViewPr>
    <p:cSldViewPr snapToGrid="0">
      <p:cViewPr varScale="1">
        <p:scale>
          <a:sx n="86" d="100"/>
          <a:sy n="86" d="100"/>
        </p:scale>
        <p:origin x="1554" y="90"/>
      </p:cViewPr>
      <p:guideLst>
        <p:guide orient="horz" pos="2629"/>
        <p:guide orient="horz" pos="810"/>
        <p:guide orient="horz" pos="1493"/>
        <p:guide pos="470"/>
        <p:guide pos="132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oleObject" Target="file:///C:\Users\cagarcia\AppData\Roaming\Microsoft\Excel\INDICADORES%202016%20FINAL%20(002)%20(version%201).xlsb"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cagarcia\AppData\Local\Microsoft\Windows\Temporary%20Internet%20Files\Content.Outlook\G4OG0TIC\INDICADORES%202016%20FINAL.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cagarcia\AppData\Roaming\Microsoft\Excel\INDICADORES%202016%20FINAL%20(002)%20(version%201).xlsb"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cagarcia\AppData\Roaming\Microsoft\Excel\INDICADORES%202016%20FINAL%20(002)%20(version%201).xlsb"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cagarcia\AppData\Roaming\Microsoft\Excel\INDICADORES%202016%20FINAL%20(002)%20(version%201).xlsb"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oleObject" Target="file:///C:\Users\cagarcia\AppData\Roaming\Microsoft\Excel\INDICADORES%202016%20FINAL%20(002)%20(version%201).xlsb"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cagarcia\AppData\Roaming\Microsoft\Excel\INDICADORES%202016%20FINAL%20(002)%20(version%201).xlsb" TargetMode="External"/></Relationships>
</file>

<file path=ppt/charts/_rels/chart8.xml.rels><?xml version="1.0" encoding="UTF-8" standalone="yes"?>
<Relationships xmlns="http://schemas.openxmlformats.org/package/2006/relationships"><Relationship Id="rId3" Type="http://schemas.openxmlformats.org/officeDocument/2006/relationships/oleObject" Target="file:///C:\Users\cagarcia\AppData\Roaming\Microsoft\Excel\INDICADORES%202016%20FINAL%20(002)%20(version%201).xlsb" TargetMode="External"/><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a:t>PROCESOS ANI 2016 </a:t>
            </a: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s-CO"/>
        </a:p>
      </c:txPr>
    </c:title>
    <c:autoTitleDeleted val="0"/>
    <c:plotArea>
      <c:layout/>
      <c:barChart>
        <c:barDir val="bar"/>
        <c:grouping val="clustered"/>
        <c:varyColors val="0"/>
        <c:ser>
          <c:idx val="0"/>
          <c:order val="0"/>
          <c:spPr>
            <a:solidFill>
              <a:schemeClr val="accent6">
                <a:alpha val="85000"/>
              </a:schemeClr>
            </a:solidFill>
            <a:ln w="9525" cap="flat" cmpd="sng" algn="ctr">
              <a:solidFill>
                <a:schemeClr val="lt1">
                  <a:alpha val="50000"/>
                </a:schemeClr>
              </a:solidFill>
              <a:round/>
            </a:ln>
            <a:effectLst/>
          </c:spPr>
          <c:invertIfNegative val="0"/>
          <c:dPt>
            <c:idx val="0"/>
            <c:invertIfNegative val="0"/>
            <c:bubble3D val="0"/>
            <c:extLst>
              <c:ext xmlns:c16="http://schemas.microsoft.com/office/drawing/2014/chart" uri="{C3380CC4-5D6E-409C-BE32-E72D297353CC}">
                <c16:uniqueId val="{00000000-0703-4DAC-BC18-2F4D2B31E100}"/>
              </c:ext>
            </c:extLst>
          </c:dPt>
          <c:dPt>
            <c:idx val="1"/>
            <c:invertIfNegative val="0"/>
            <c:bubble3D val="0"/>
            <c:extLst>
              <c:ext xmlns:c16="http://schemas.microsoft.com/office/drawing/2014/chart" uri="{C3380CC4-5D6E-409C-BE32-E72D297353CC}">
                <c16:uniqueId val="{00000001-0703-4DAC-BC18-2F4D2B31E100}"/>
              </c:ext>
            </c:extLst>
          </c:dPt>
          <c:dPt>
            <c:idx val="2"/>
            <c:invertIfNegative val="0"/>
            <c:bubble3D val="0"/>
            <c:extLst>
              <c:ext xmlns:c16="http://schemas.microsoft.com/office/drawing/2014/chart" uri="{C3380CC4-5D6E-409C-BE32-E72D297353CC}">
                <c16:uniqueId val="{00000002-0703-4DAC-BC18-2F4D2B31E100}"/>
              </c:ext>
            </c:extLst>
          </c:dPt>
          <c:dPt>
            <c:idx val="3"/>
            <c:invertIfNegative val="0"/>
            <c:bubble3D val="0"/>
            <c:extLst>
              <c:ext xmlns:c16="http://schemas.microsoft.com/office/drawing/2014/chart" uri="{C3380CC4-5D6E-409C-BE32-E72D297353CC}">
                <c16:uniqueId val="{00000003-0703-4DAC-BC18-2F4D2B31E100}"/>
              </c:ext>
            </c:extLst>
          </c:dPt>
          <c:dPt>
            <c:idx val="4"/>
            <c:invertIfNegative val="0"/>
            <c:bubble3D val="0"/>
            <c:extLst>
              <c:ext xmlns:c16="http://schemas.microsoft.com/office/drawing/2014/chart" uri="{C3380CC4-5D6E-409C-BE32-E72D297353CC}">
                <c16:uniqueId val="{00000004-0703-4DAC-BC18-2F4D2B31E100}"/>
              </c:ext>
            </c:extLst>
          </c:dPt>
          <c:dPt>
            <c:idx val="5"/>
            <c:invertIfNegative val="0"/>
            <c:bubble3D val="0"/>
            <c:extLst>
              <c:ext xmlns:c16="http://schemas.microsoft.com/office/drawing/2014/chart" uri="{C3380CC4-5D6E-409C-BE32-E72D297353CC}">
                <c16:uniqueId val="{00000005-0703-4DAC-BC18-2F4D2B31E100}"/>
              </c:ext>
            </c:extLst>
          </c:dPt>
          <c:dPt>
            <c:idx val="6"/>
            <c:invertIfNegative val="0"/>
            <c:bubble3D val="0"/>
            <c:extLst>
              <c:ext xmlns:c16="http://schemas.microsoft.com/office/drawing/2014/chart" uri="{C3380CC4-5D6E-409C-BE32-E72D297353CC}">
                <c16:uniqueId val="{00000006-0703-4DAC-BC18-2F4D2B31E100}"/>
              </c:ext>
            </c:extLst>
          </c:dPt>
          <c:dPt>
            <c:idx val="7"/>
            <c:invertIfNegative val="0"/>
            <c:bubble3D val="0"/>
            <c:extLst>
              <c:ext xmlns:c16="http://schemas.microsoft.com/office/drawing/2014/chart" uri="{C3380CC4-5D6E-409C-BE32-E72D297353CC}">
                <c16:uniqueId val="{00000007-0703-4DAC-BC18-2F4D2B31E100}"/>
              </c:ext>
            </c:extLst>
          </c:dPt>
          <c:dPt>
            <c:idx val="8"/>
            <c:invertIfNegative val="0"/>
            <c:bubble3D val="0"/>
            <c:extLst>
              <c:ext xmlns:c16="http://schemas.microsoft.com/office/drawing/2014/chart" uri="{C3380CC4-5D6E-409C-BE32-E72D297353CC}">
                <c16:uniqueId val="{00000008-0703-4DAC-BC18-2F4D2B31E100}"/>
              </c:ext>
            </c:extLst>
          </c:dPt>
          <c:dPt>
            <c:idx val="9"/>
            <c:invertIfNegative val="0"/>
            <c:bubble3D val="0"/>
            <c:extLst>
              <c:ext xmlns:c16="http://schemas.microsoft.com/office/drawing/2014/chart" uri="{C3380CC4-5D6E-409C-BE32-E72D297353CC}">
                <c16:uniqueId val="{00000009-0703-4DAC-BC18-2F4D2B31E100}"/>
              </c:ext>
            </c:extLst>
          </c:dPt>
          <c:dLbls>
            <c:spPr>
              <a:solidFill>
                <a:schemeClr val="tx1"/>
              </a:solid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INDICADORES 2016 FINAL (002) (version 1).xlsb]PROCESOS '!$B$3:$B$13</c:f>
              <c:strCache>
                <c:ptCount val="11"/>
                <c:pt idx="0">
                  <c:v>MINIMA CUANTIA</c:v>
                </c:pt>
                <c:pt idx="1">
                  <c:v>SA</c:v>
                </c:pt>
                <c:pt idx="2">
                  <c:v>LP</c:v>
                </c:pt>
                <c:pt idx="3">
                  <c:v>SI</c:v>
                </c:pt>
                <c:pt idx="4">
                  <c:v>SA-IPV</c:v>
                </c:pt>
                <c:pt idx="5">
                  <c:v>CM</c:v>
                </c:pt>
                <c:pt idx="6">
                  <c:v>IPV</c:v>
                </c:pt>
                <c:pt idx="7">
                  <c:v>IPB</c:v>
                </c:pt>
                <c:pt idx="8">
                  <c:v>PRESTACIÓN DE SERVICIOS</c:v>
                </c:pt>
                <c:pt idx="9">
                  <c:v>CONVENIOS</c:v>
                </c:pt>
                <c:pt idx="10">
                  <c:v>TOTAL</c:v>
                </c:pt>
              </c:strCache>
            </c:strRef>
          </c:cat>
          <c:val>
            <c:numRef>
              <c:f>'[INDICADORES 2016 FINAL (002) (version 1).xlsb]PROCESOS '!$C$3:$C$13</c:f>
              <c:numCache>
                <c:formatCode>General</c:formatCode>
                <c:ptCount val="11"/>
                <c:pt idx="0">
                  <c:v>25</c:v>
                </c:pt>
                <c:pt idx="1">
                  <c:v>7</c:v>
                </c:pt>
                <c:pt idx="2">
                  <c:v>1</c:v>
                </c:pt>
                <c:pt idx="3">
                  <c:v>1</c:v>
                </c:pt>
                <c:pt idx="4">
                  <c:v>2</c:v>
                </c:pt>
                <c:pt idx="5" formatCode="0">
                  <c:v>11</c:v>
                </c:pt>
                <c:pt idx="6">
                  <c:v>3</c:v>
                </c:pt>
                <c:pt idx="7" formatCode="0">
                  <c:v>4</c:v>
                </c:pt>
                <c:pt idx="8">
                  <c:v>589</c:v>
                </c:pt>
                <c:pt idx="9">
                  <c:v>21</c:v>
                </c:pt>
                <c:pt idx="10">
                  <c:v>664</c:v>
                </c:pt>
              </c:numCache>
            </c:numRef>
          </c:val>
          <c:extLst>
            <c:ext xmlns:c16="http://schemas.microsoft.com/office/drawing/2014/chart" uri="{C3380CC4-5D6E-409C-BE32-E72D297353CC}">
              <c16:uniqueId val="{0000000A-0703-4DAC-BC18-2F4D2B31E100}"/>
            </c:ext>
          </c:extLst>
        </c:ser>
        <c:dLbls>
          <c:dLblPos val="inEnd"/>
          <c:showLegendKey val="0"/>
          <c:showVal val="1"/>
          <c:showCatName val="0"/>
          <c:showSerName val="0"/>
          <c:showPercent val="0"/>
          <c:showBubbleSize val="0"/>
        </c:dLbls>
        <c:gapWidth val="65"/>
        <c:axId val="781706464"/>
        <c:axId val="860077872"/>
      </c:barChart>
      <c:valAx>
        <c:axId val="860077872"/>
        <c:scaling>
          <c:orientation val="minMax"/>
        </c:scaling>
        <c:delete val="1"/>
        <c:axPos val="b"/>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781706464"/>
        <c:crosses val="autoZero"/>
        <c:crossBetween val="between"/>
      </c:valAx>
      <c:catAx>
        <c:axId val="781706464"/>
        <c:scaling>
          <c:orientation val="minMax"/>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s-CO"/>
          </a:p>
        </c:txPr>
        <c:crossAx val="860077872"/>
        <c:crosses val="autoZero"/>
        <c:auto val="1"/>
        <c:lblAlgn val="ctr"/>
        <c:lblOffset val="100"/>
        <c:noMultiLvlLbl val="0"/>
      </c:catAx>
      <c:spPr>
        <a:noFill/>
        <a:ln>
          <a:noFill/>
        </a:ln>
        <a:effectLst/>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s-C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PROCESOS ANI 2016</a:t>
            </a:r>
          </a:p>
        </c:rich>
      </c:tx>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s-CO"/>
        </a:p>
      </c:txPr>
    </c:title>
    <c:autoTitleDeleted val="0"/>
    <c:plotArea>
      <c:layout/>
      <c:barChart>
        <c:barDir val="bar"/>
        <c:grouping val="clustered"/>
        <c:varyColors val="0"/>
        <c:ser>
          <c:idx val="0"/>
          <c:order val="0"/>
          <c:spPr>
            <a:pattFill prst="narVert">
              <a:fgClr>
                <a:schemeClr val="accent1"/>
              </a:fgClr>
              <a:bgClr>
                <a:schemeClr val="accent1">
                  <a:lumMod val="20000"/>
                  <a:lumOff val="80000"/>
                </a:schemeClr>
              </a:bgClr>
            </a:pattFill>
            <a:ln>
              <a:noFill/>
            </a:ln>
            <a:effectLst>
              <a:innerShdw blurRad="114300">
                <a:schemeClr val="accent1"/>
              </a:innerShdw>
            </a:effectLst>
          </c:spPr>
          <c:invertIfNegative val="0"/>
          <c:dPt>
            <c:idx val="0"/>
            <c:invertIfNegative val="0"/>
            <c:bubble3D val="0"/>
            <c:extLst>
              <c:ext xmlns:c16="http://schemas.microsoft.com/office/drawing/2014/chart" uri="{C3380CC4-5D6E-409C-BE32-E72D297353CC}">
                <c16:uniqueId val="{00000000-0703-4DAC-BC18-2F4D2B31E100}"/>
              </c:ext>
            </c:extLst>
          </c:dPt>
          <c:dPt>
            <c:idx val="1"/>
            <c:invertIfNegative val="0"/>
            <c:bubble3D val="0"/>
            <c:extLst>
              <c:ext xmlns:c16="http://schemas.microsoft.com/office/drawing/2014/chart" uri="{C3380CC4-5D6E-409C-BE32-E72D297353CC}">
                <c16:uniqueId val="{00000001-0703-4DAC-BC18-2F4D2B31E100}"/>
              </c:ext>
            </c:extLst>
          </c:dPt>
          <c:dPt>
            <c:idx val="2"/>
            <c:invertIfNegative val="0"/>
            <c:bubble3D val="0"/>
            <c:extLst>
              <c:ext xmlns:c16="http://schemas.microsoft.com/office/drawing/2014/chart" uri="{C3380CC4-5D6E-409C-BE32-E72D297353CC}">
                <c16:uniqueId val="{00000002-0703-4DAC-BC18-2F4D2B31E100}"/>
              </c:ext>
            </c:extLst>
          </c:dPt>
          <c:dPt>
            <c:idx val="3"/>
            <c:invertIfNegative val="0"/>
            <c:bubble3D val="0"/>
            <c:extLst>
              <c:ext xmlns:c16="http://schemas.microsoft.com/office/drawing/2014/chart" uri="{C3380CC4-5D6E-409C-BE32-E72D297353CC}">
                <c16:uniqueId val="{00000003-0703-4DAC-BC18-2F4D2B31E100}"/>
              </c:ext>
            </c:extLst>
          </c:dPt>
          <c:dPt>
            <c:idx val="4"/>
            <c:invertIfNegative val="0"/>
            <c:bubble3D val="0"/>
            <c:extLst>
              <c:ext xmlns:c16="http://schemas.microsoft.com/office/drawing/2014/chart" uri="{C3380CC4-5D6E-409C-BE32-E72D297353CC}">
                <c16:uniqueId val="{00000004-0703-4DAC-BC18-2F4D2B31E100}"/>
              </c:ext>
            </c:extLst>
          </c:dPt>
          <c:dPt>
            <c:idx val="5"/>
            <c:invertIfNegative val="0"/>
            <c:bubble3D val="0"/>
            <c:extLst>
              <c:ext xmlns:c16="http://schemas.microsoft.com/office/drawing/2014/chart" uri="{C3380CC4-5D6E-409C-BE32-E72D297353CC}">
                <c16:uniqueId val="{00000005-0703-4DAC-BC18-2F4D2B31E100}"/>
              </c:ext>
            </c:extLst>
          </c:dPt>
          <c:dPt>
            <c:idx val="6"/>
            <c:invertIfNegative val="0"/>
            <c:bubble3D val="0"/>
            <c:extLst>
              <c:ext xmlns:c16="http://schemas.microsoft.com/office/drawing/2014/chart" uri="{C3380CC4-5D6E-409C-BE32-E72D297353CC}">
                <c16:uniqueId val="{00000006-0703-4DAC-BC18-2F4D2B31E100}"/>
              </c:ext>
            </c:extLst>
          </c:dPt>
          <c:dPt>
            <c:idx val="7"/>
            <c:invertIfNegative val="0"/>
            <c:bubble3D val="0"/>
            <c:extLst>
              <c:ext xmlns:c16="http://schemas.microsoft.com/office/drawing/2014/chart" uri="{C3380CC4-5D6E-409C-BE32-E72D297353CC}">
                <c16:uniqueId val="{00000007-0703-4DAC-BC18-2F4D2B31E100}"/>
              </c:ext>
            </c:extLst>
          </c:dPt>
          <c:dPt>
            <c:idx val="8"/>
            <c:invertIfNegative val="0"/>
            <c:bubble3D val="0"/>
            <c:extLst>
              <c:ext xmlns:c16="http://schemas.microsoft.com/office/drawing/2014/chart" uri="{C3380CC4-5D6E-409C-BE32-E72D297353CC}">
                <c16:uniqueId val="{00000008-0703-4DAC-BC18-2F4D2B31E100}"/>
              </c:ext>
            </c:extLst>
          </c:dPt>
          <c:dPt>
            <c:idx val="9"/>
            <c:invertIfNegative val="0"/>
            <c:bubble3D val="0"/>
            <c:extLst>
              <c:ext xmlns:c16="http://schemas.microsoft.com/office/drawing/2014/chart" uri="{C3380CC4-5D6E-409C-BE32-E72D297353CC}">
                <c16:uniqueId val="{00000009-0703-4DAC-BC18-2F4D2B31E100}"/>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PROCESOS '!$B$3:$B$13</c:f>
              <c:strCache>
                <c:ptCount val="11"/>
                <c:pt idx="0">
                  <c:v>MINIMA CUANTIA</c:v>
                </c:pt>
                <c:pt idx="1">
                  <c:v>SA</c:v>
                </c:pt>
                <c:pt idx="2">
                  <c:v>LP</c:v>
                </c:pt>
                <c:pt idx="3">
                  <c:v>SI</c:v>
                </c:pt>
                <c:pt idx="4">
                  <c:v>SA-IPV</c:v>
                </c:pt>
                <c:pt idx="5">
                  <c:v>CM</c:v>
                </c:pt>
                <c:pt idx="6">
                  <c:v>IPV</c:v>
                </c:pt>
                <c:pt idx="7">
                  <c:v>IPB</c:v>
                </c:pt>
                <c:pt idx="8">
                  <c:v>PRESTACIÓN DE SERVICIOS</c:v>
                </c:pt>
                <c:pt idx="9">
                  <c:v>CONVENIOS</c:v>
                </c:pt>
                <c:pt idx="10">
                  <c:v>TOTAL</c:v>
                </c:pt>
              </c:strCache>
            </c:strRef>
          </c:cat>
          <c:val>
            <c:numRef>
              <c:f>'PROCESOS '!$C$3:$C$13</c:f>
            </c:numRef>
          </c:val>
          <c:extLst>
            <c:ext xmlns:c16="http://schemas.microsoft.com/office/drawing/2014/chart" uri="{C3380CC4-5D6E-409C-BE32-E72D297353CC}">
              <c16:uniqueId val="{0000000A-0703-4DAC-BC18-2F4D2B31E100}"/>
            </c:ext>
          </c:extLst>
        </c:ser>
        <c:ser>
          <c:idx val="1"/>
          <c:order val="1"/>
          <c:spPr>
            <a:pattFill prst="narVert">
              <a:fgClr>
                <a:schemeClr val="accent2"/>
              </a:fgClr>
              <a:bgClr>
                <a:schemeClr val="accent2">
                  <a:lumMod val="20000"/>
                  <a:lumOff val="80000"/>
                </a:schemeClr>
              </a:bgClr>
            </a:pattFill>
            <a:ln>
              <a:noFill/>
            </a:ln>
            <a:effectLst>
              <a:innerShdw blurRad="114300">
                <a:schemeClr val="accent2"/>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PROCESOS '!$B$3:$B$13</c:f>
              <c:strCache>
                <c:ptCount val="11"/>
                <c:pt idx="0">
                  <c:v>MINIMA CUANTIA</c:v>
                </c:pt>
                <c:pt idx="1">
                  <c:v>SA</c:v>
                </c:pt>
                <c:pt idx="2">
                  <c:v>LP</c:v>
                </c:pt>
                <c:pt idx="3">
                  <c:v>SI</c:v>
                </c:pt>
                <c:pt idx="4">
                  <c:v>SA-IPV</c:v>
                </c:pt>
                <c:pt idx="5">
                  <c:v>CM</c:v>
                </c:pt>
                <c:pt idx="6">
                  <c:v>IPV</c:v>
                </c:pt>
                <c:pt idx="7">
                  <c:v>IPB</c:v>
                </c:pt>
                <c:pt idx="8">
                  <c:v>PRESTACIÓN DE SERVICIOS</c:v>
                </c:pt>
                <c:pt idx="9">
                  <c:v>CONVENIOS</c:v>
                </c:pt>
                <c:pt idx="10">
                  <c:v>TOTAL</c:v>
                </c:pt>
              </c:strCache>
            </c:strRef>
          </c:cat>
          <c:val>
            <c:numRef>
              <c:f>'PROCESOS '!$D$3:$D$13</c:f>
              <c:numCache>
                <c:formatCode>_("$"* #,##0.00_);_("$"* \(#,##0.00\);_("$"* "-"??_);_(@_)</c:formatCode>
                <c:ptCount val="11"/>
                <c:pt idx="0">
                  <c:v>638852530</c:v>
                </c:pt>
                <c:pt idx="1">
                  <c:v>2994846809</c:v>
                </c:pt>
                <c:pt idx="2">
                  <c:v>6148409199</c:v>
                </c:pt>
                <c:pt idx="3">
                  <c:v>202100000</c:v>
                </c:pt>
                <c:pt idx="4">
                  <c:v>3178661302998</c:v>
                </c:pt>
                <c:pt idx="5">
                  <c:v>147296707483</c:v>
                </c:pt>
                <c:pt idx="6">
                  <c:v>3060229319256</c:v>
                </c:pt>
                <c:pt idx="7">
                  <c:v>1413763000000</c:v>
                </c:pt>
                <c:pt idx="8">
                  <c:v>12391996039</c:v>
                </c:pt>
                <c:pt idx="9">
                  <c:v>2699185000</c:v>
                </c:pt>
                <c:pt idx="10" formatCode="#,##0">
                  <c:v>7825025719314</c:v>
                </c:pt>
              </c:numCache>
            </c:numRef>
          </c:val>
          <c:extLst>
            <c:ext xmlns:c16="http://schemas.microsoft.com/office/drawing/2014/chart" uri="{C3380CC4-5D6E-409C-BE32-E72D297353CC}">
              <c16:uniqueId val="{0000000B-0703-4DAC-BC18-2F4D2B31E100}"/>
            </c:ext>
          </c:extLst>
        </c:ser>
        <c:dLbls>
          <c:showLegendKey val="0"/>
          <c:showVal val="0"/>
          <c:showCatName val="0"/>
          <c:showSerName val="0"/>
          <c:showPercent val="0"/>
          <c:showBubbleSize val="0"/>
        </c:dLbls>
        <c:gapWidth val="227"/>
        <c:overlap val="-48"/>
        <c:axId val="785589664"/>
        <c:axId val="526795984"/>
      </c:barChart>
      <c:catAx>
        <c:axId val="785589664"/>
        <c:scaling>
          <c:orientation val="minMax"/>
        </c:scaling>
        <c:delete val="0"/>
        <c:axPos val="l"/>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526795984"/>
        <c:crosses val="autoZero"/>
        <c:auto val="1"/>
        <c:lblAlgn val="ctr"/>
        <c:lblOffset val="100"/>
        <c:noMultiLvlLbl val="0"/>
      </c:catAx>
      <c:valAx>
        <c:axId val="526795984"/>
        <c:scaling>
          <c:orientation val="minMax"/>
        </c:scaling>
        <c:delete val="1"/>
        <c:axPos val="b"/>
        <c:numFmt formatCode="_(&quot;$&quot;* #,##0.00_);_(&quot;$&quot;* \(#,##0.00\);_(&quot;$&quot;* &quot;-&quot;??_);_(@_)" sourceLinked="1"/>
        <c:majorTickMark val="none"/>
        <c:minorTickMark val="none"/>
        <c:tickLblPos val="nextTo"/>
        <c:crossAx val="7855896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CO"/>
              <a:t>PUBLICACIÓN</a:t>
            </a:r>
            <a:r>
              <a:rPr lang="es-CO" baseline="0"/>
              <a:t> SECOP Y PAGINA WEB</a:t>
            </a:r>
            <a:endParaRPr lang="es-CO"/>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DICADORES 2016 FINAL (002) (version 1).xlsb]DOCUMENTOS'!$B$3:$B$22</c:f>
              <c:strCache>
                <c:ptCount val="20"/>
                <c:pt idx="0">
                  <c:v>AVISOS DE CONVOCATORIA LP-IPV-IPB-APP</c:v>
                </c:pt>
                <c:pt idx="1">
                  <c:v>AVISOS DE CONVOCATORIA SA-CM-SI</c:v>
                </c:pt>
                <c:pt idx="2">
                  <c:v>INVITACION PUBLICA MC</c:v>
                </c:pt>
                <c:pt idx="3">
                  <c:v>ESTUDIOS PREVIOS - GENERAL TODOS LOS PROCESOS</c:v>
                </c:pt>
                <c:pt idx="4">
                  <c:v>RESPUESTA A OBSERVACIONES PREPLIEGO TODOS LOS PROCESOS</c:v>
                </c:pt>
                <c:pt idx="5">
                  <c:v>ACTA DE CIERRE DE PRESENTACION OFERTAS</c:v>
                </c:pt>
                <c:pt idx="6">
                  <c:v>AUDIENCIAACLARACION DE RIESGOS O PLIEGOS- LP-CM-SI-APPS-SA</c:v>
                </c:pt>
                <c:pt idx="7">
                  <c:v>RESOLUCIONES DE APERTURA LP-CM-SI-APPS-SA</c:v>
                </c:pt>
                <c:pt idx="8">
                  <c:v>PLIEGO DE CONDICIONES LP-CM-SI-APPS-SA</c:v>
                </c:pt>
                <c:pt idx="9">
                  <c:v>RESPUESTA PREGUNTAS PLIEGO LP-CM-SI-APPS-SA</c:v>
                </c:pt>
                <c:pt idx="10">
                  <c:v>INFORME DE EVALUACION  TODOS INCLUIDO MINIMA</c:v>
                </c:pt>
                <c:pt idx="11">
                  <c:v>RESPUESTAS AL INFORME DE EVALUACION INICIAL</c:v>
                </c:pt>
                <c:pt idx="12">
                  <c:v>ACTO DECLARATORIA DE DESIERTO </c:v>
                </c:pt>
                <c:pt idx="13">
                  <c:v>ACTO REVOCATORIA</c:v>
                </c:pt>
                <c:pt idx="14">
                  <c:v>ACTO DESCARTADO</c:v>
                </c:pt>
                <c:pt idx="15">
                  <c:v>ACTA AUDIENCIA ADJUDICACION  LP-CM-SI-APPS-SA</c:v>
                </c:pt>
                <c:pt idx="16">
                  <c:v>RESOLUCION DE ADJUDICACION  LP-CM-SI-APPS-SA</c:v>
                </c:pt>
                <c:pt idx="17">
                  <c:v>COMUNICACIÓN DE ACEPTACION DE OFERTA SOLO MINIMAS</c:v>
                </c:pt>
                <c:pt idx="18">
                  <c:v>ADENDAS</c:v>
                </c:pt>
                <c:pt idx="19">
                  <c:v>TOTAL DOCUMENTOS PUBLICADOS</c:v>
                </c:pt>
              </c:strCache>
            </c:strRef>
          </c:cat>
          <c:val>
            <c:numRef>
              <c:f>'[INDICADORES 2016 FINAL (002) (version 1).xlsb]DOCUMENTOS'!$C$3:$C$22</c:f>
              <c:numCache>
                <c:formatCode>0</c:formatCode>
                <c:ptCount val="20"/>
                <c:pt idx="0">
                  <c:v>2</c:v>
                </c:pt>
                <c:pt idx="1">
                  <c:v>24</c:v>
                </c:pt>
                <c:pt idx="2">
                  <c:v>25</c:v>
                </c:pt>
                <c:pt idx="3">
                  <c:v>661</c:v>
                </c:pt>
                <c:pt idx="4" formatCode="#,##0">
                  <c:v>48</c:v>
                </c:pt>
                <c:pt idx="5">
                  <c:v>49</c:v>
                </c:pt>
                <c:pt idx="6">
                  <c:v>26</c:v>
                </c:pt>
                <c:pt idx="7">
                  <c:v>23</c:v>
                </c:pt>
                <c:pt idx="8">
                  <c:v>26</c:v>
                </c:pt>
                <c:pt idx="9">
                  <c:v>59</c:v>
                </c:pt>
                <c:pt idx="10">
                  <c:v>46</c:v>
                </c:pt>
                <c:pt idx="11">
                  <c:v>13</c:v>
                </c:pt>
                <c:pt idx="12">
                  <c:v>5</c:v>
                </c:pt>
                <c:pt idx="13">
                  <c:v>0</c:v>
                </c:pt>
                <c:pt idx="14">
                  <c:v>1</c:v>
                </c:pt>
                <c:pt idx="15">
                  <c:v>14</c:v>
                </c:pt>
                <c:pt idx="16">
                  <c:v>23</c:v>
                </c:pt>
                <c:pt idx="17">
                  <c:v>21</c:v>
                </c:pt>
                <c:pt idx="18">
                  <c:v>64</c:v>
                </c:pt>
                <c:pt idx="19">
                  <c:v>1130</c:v>
                </c:pt>
              </c:numCache>
            </c:numRef>
          </c:val>
          <c:extLst>
            <c:ext xmlns:c16="http://schemas.microsoft.com/office/drawing/2014/chart" uri="{C3380CC4-5D6E-409C-BE32-E72D297353CC}">
              <c16:uniqueId val="{00000000-5442-4136-B875-0303799E0398}"/>
            </c:ext>
          </c:extLst>
        </c:ser>
        <c:dLbls>
          <c:showLegendKey val="0"/>
          <c:showVal val="0"/>
          <c:showCatName val="0"/>
          <c:showSerName val="0"/>
          <c:showPercent val="0"/>
          <c:showBubbleSize val="0"/>
        </c:dLbls>
        <c:gapWidth val="182"/>
        <c:axId val="526791632"/>
        <c:axId val="526801424"/>
      </c:barChart>
      <c:catAx>
        <c:axId val="5267916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526801424"/>
        <c:crosses val="autoZero"/>
        <c:auto val="1"/>
        <c:lblAlgn val="ctr"/>
        <c:lblOffset val="100"/>
        <c:noMultiLvlLbl val="0"/>
      </c:catAx>
      <c:valAx>
        <c:axId val="526801424"/>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5267916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a:t>NUMERO DE DIAS PROMEDIO PARA PRESENTACIÓN DE PROPUESTAS</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bar"/>
        <c:grouping val="clustered"/>
        <c:varyColors val="0"/>
        <c:ser>
          <c:idx val="0"/>
          <c:order val="0"/>
          <c:spPr>
            <a:solidFill>
              <a:schemeClr val="accent1"/>
            </a:solidFill>
            <a:ln>
              <a:noFill/>
            </a:ln>
            <a:effectLst/>
          </c:spPr>
          <c:invertIfNegative val="0"/>
          <c:cat>
            <c:strRef>
              <c:f>'[INDICADORES 2016 FINAL (002) (version 1).xlsb]PROMEDIO'!$C$6:$C$13</c:f>
              <c:strCache>
                <c:ptCount val="8"/>
                <c:pt idx="0">
                  <c:v>MC</c:v>
                </c:pt>
                <c:pt idx="1">
                  <c:v>SA</c:v>
                </c:pt>
                <c:pt idx="2">
                  <c:v>SI</c:v>
                </c:pt>
                <c:pt idx="3">
                  <c:v>IPV</c:v>
                </c:pt>
                <c:pt idx="4">
                  <c:v>SA/IPV</c:v>
                </c:pt>
                <c:pt idx="5">
                  <c:v>IPB</c:v>
                </c:pt>
                <c:pt idx="6">
                  <c:v>LP</c:v>
                </c:pt>
                <c:pt idx="7">
                  <c:v>CM</c:v>
                </c:pt>
              </c:strCache>
            </c:strRef>
          </c:cat>
          <c:val>
            <c:numRef>
              <c:f>'[INDICADORES 2016 FINAL (002) (version 1).xlsb]PROMEDIO'!$D$6:$D$13</c:f>
            </c:numRef>
          </c:val>
          <c:extLst>
            <c:ext xmlns:c16="http://schemas.microsoft.com/office/drawing/2014/chart" uri="{C3380CC4-5D6E-409C-BE32-E72D297353CC}">
              <c16:uniqueId val="{00000000-21C4-4ACD-A03F-42D729E41215}"/>
            </c:ext>
          </c:extLst>
        </c:ser>
        <c:ser>
          <c:idx val="1"/>
          <c:order val="1"/>
          <c:spPr>
            <a:solidFill>
              <a:schemeClr val="accent2"/>
            </a:solidFill>
            <a:ln>
              <a:noFill/>
            </a:ln>
            <a:effectLst/>
          </c:spPr>
          <c:invertIfNegative val="0"/>
          <c:cat>
            <c:strRef>
              <c:f>'[INDICADORES 2016 FINAL (002) (version 1).xlsb]PROMEDIO'!$C$6:$C$13</c:f>
              <c:strCache>
                <c:ptCount val="8"/>
                <c:pt idx="0">
                  <c:v>MC</c:v>
                </c:pt>
                <c:pt idx="1">
                  <c:v>SA</c:v>
                </c:pt>
                <c:pt idx="2">
                  <c:v>SI</c:v>
                </c:pt>
                <c:pt idx="3">
                  <c:v>IPV</c:v>
                </c:pt>
                <c:pt idx="4">
                  <c:v>SA/IPV</c:v>
                </c:pt>
                <c:pt idx="5">
                  <c:v>IPB</c:v>
                </c:pt>
                <c:pt idx="6">
                  <c:v>LP</c:v>
                </c:pt>
                <c:pt idx="7">
                  <c:v>CM</c:v>
                </c:pt>
              </c:strCache>
            </c:strRef>
          </c:cat>
          <c:val>
            <c:numRef>
              <c:f>'[INDICADORES 2016 FINAL (002) (version 1).xlsb]PROMEDIO'!$E$6:$E$13</c:f>
            </c:numRef>
          </c:val>
          <c:extLst>
            <c:ext xmlns:c16="http://schemas.microsoft.com/office/drawing/2014/chart" uri="{C3380CC4-5D6E-409C-BE32-E72D297353CC}">
              <c16:uniqueId val="{00000001-21C4-4ACD-A03F-42D729E41215}"/>
            </c:ext>
          </c:extLst>
        </c:ser>
        <c:ser>
          <c:idx val="2"/>
          <c:order val="2"/>
          <c:spPr>
            <a:solidFill>
              <a:schemeClr val="accent3"/>
            </a:solidFill>
            <a:ln>
              <a:noFill/>
            </a:ln>
            <a:effectLst/>
          </c:spPr>
          <c:invertIfNegative val="0"/>
          <c:dPt>
            <c:idx val="0"/>
            <c:invertIfNegative val="0"/>
            <c:bubble3D val="0"/>
            <c:spPr>
              <a:solidFill>
                <a:srgbClr val="FFFF00"/>
              </a:solidFill>
              <a:ln>
                <a:noFill/>
              </a:ln>
              <a:effectLst/>
              <a:sp3d/>
            </c:spPr>
            <c:extLst>
              <c:ext xmlns:c16="http://schemas.microsoft.com/office/drawing/2014/chart" uri="{C3380CC4-5D6E-409C-BE32-E72D297353CC}">
                <c16:uniqueId val="{00000003-21C4-4ACD-A03F-42D729E41215}"/>
              </c:ext>
            </c:extLst>
          </c:dPt>
          <c:dPt>
            <c:idx val="1"/>
            <c:invertIfNegative val="0"/>
            <c:bubble3D val="0"/>
            <c:spPr>
              <a:solidFill>
                <a:srgbClr val="FF0000"/>
              </a:solidFill>
              <a:ln>
                <a:noFill/>
              </a:ln>
              <a:effectLst/>
              <a:sp3d/>
            </c:spPr>
            <c:extLst>
              <c:ext xmlns:c16="http://schemas.microsoft.com/office/drawing/2014/chart" uri="{C3380CC4-5D6E-409C-BE32-E72D297353CC}">
                <c16:uniqueId val="{00000005-21C4-4ACD-A03F-42D729E41215}"/>
              </c:ext>
            </c:extLst>
          </c:dPt>
          <c:dPt>
            <c:idx val="2"/>
            <c:invertIfNegative val="0"/>
            <c:bubble3D val="0"/>
            <c:spPr>
              <a:solidFill>
                <a:srgbClr val="FF00FF"/>
              </a:solidFill>
              <a:ln>
                <a:noFill/>
              </a:ln>
              <a:effectLst/>
              <a:sp3d/>
            </c:spPr>
            <c:extLst>
              <c:ext xmlns:c16="http://schemas.microsoft.com/office/drawing/2014/chart" uri="{C3380CC4-5D6E-409C-BE32-E72D297353CC}">
                <c16:uniqueId val="{00000007-21C4-4ACD-A03F-42D729E41215}"/>
              </c:ext>
            </c:extLst>
          </c:dPt>
          <c:dPt>
            <c:idx val="3"/>
            <c:invertIfNegative val="0"/>
            <c:bubble3D val="0"/>
            <c:spPr>
              <a:solidFill>
                <a:srgbClr val="00B050"/>
              </a:solidFill>
              <a:ln>
                <a:noFill/>
              </a:ln>
              <a:effectLst/>
              <a:sp3d/>
            </c:spPr>
            <c:extLst>
              <c:ext xmlns:c16="http://schemas.microsoft.com/office/drawing/2014/chart" uri="{C3380CC4-5D6E-409C-BE32-E72D297353CC}">
                <c16:uniqueId val="{00000009-21C4-4ACD-A03F-42D729E41215}"/>
              </c:ext>
            </c:extLst>
          </c:dPt>
          <c:dPt>
            <c:idx val="4"/>
            <c:invertIfNegative val="0"/>
            <c:bubble3D val="0"/>
            <c:spPr>
              <a:solidFill>
                <a:srgbClr val="00B0F0"/>
              </a:solidFill>
              <a:ln>
                <a:noFill/>
              </a:ln>
              <a:effectLst/>
              <a:sp3d/>
            </c:spPr>
            <c:extLst>
              <c:ext xmlns:c16="http://schemas.microsoft.com/office/drawing/2014/chart" uri="{C3380CC4-5D6E-409C-BE32-E72D297353CC}">
                <c16:uniqueId val="{0000000B-21C4-4ACD-A03F-42D729E41215}"/>
              </c:ext>
            </c:extLst>
          </c:dPt>
          <c:dPt>
            <c:idx val="5"/>
            <c:invertIfNegative val="0"/>
            <c:bubble3D val="0"/>
            <c:spPr>
              <a:solidFill>
                <a:srgbClr val="7030A0"/>
              </a:solidFill>
              <a:ln>
                <a:noFill/>
              </a:ln>
              <a:effectLst/>
              <a:sp3d/>
            </c:spPr>
            <c:extLst>
              <c:ext xmlns:c16="http://schemas.microsoft.com/office/drawing/2014/chart" uri="{C3380CC4-5D6E-409C-BE32-E72D297353CC}">
                <c16:uniqueId val="{0000000D-21C4-4ACD-A03F-42D729E41215}"/>
              </c:ext>
            </c:extLst>
          </c:dPt>
          <c:dPt>
            <c:idx val="6"/>
            <c:invertIfNegative val="0"/>
            <c:bubble3D val="0"/>
            <c:spPr>
              <a:solidFill>
                <a:schemeClr val="accent6">
                  <a:lumMod val="75000"/>
                </a:schemeClr>
              </a:solidFill>
              <a:ln>
                <a:noFill/>
              </a:ln>
              <a:effectLst/>
              <a:sp3d/>
            </c:spPr>
            <c:extLst>
              <c:ext xmlns:c16="http://schemas.microsoft.com/office/drawing/2014/chart" uri="{C3380CC4-5D6E-409C-BE32-E72D297353CC}">
                <c16:uniqueId val="{0000000F-21C4-4ACD-A03F-42D729E41215}"/>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DICADORES 2016 FINAL (002) (version 1).xlsb]PROMEDIO'!$C$6:$C$13</c:f>
              <c:strCache>
                <c:ptCount val="8"/>
                <c:pt idx="0">
                  <c:v>MC</c:v>
                </c:pt>
                <c:pt idx="1">
                  <c:v>SA</c:v>
                </c:pt>
                <c:pt idx="2">
                  <c:v>SI</c:v>
                </c:pt>
                <c:pt idx="3">
                  <c:v>IPV</c:v>
                </c:pt>
                <c:pt idx="4">
                  <c:v>SA/IPV</c:v>
                </c:pt>
                <c:pt idx="5">
                  <c:v>IPB</c:v>
                </c:pt>
                <c:pt idx="6">
                  <c:v>LP</c:v>
                </c:pt>
                <c:pt idx="7">
                  <c:v>CM</c:v>
                </c:pt>
              </c:strCache>
            </c:strRef>
          </c:cat>
          <c:val>
            <c:numRef>
              <c:f>'[INDICADORES 2016 FINAL (002) (version 1).xlsb]PROMEDIO'!$F$6:$F$13</c:f>
              <c:numCache>
                <c:formatCode>0</c:formatCode>
                <c:ptCount val="8"/>
                <c:pt idx="0">
                  <c:v>5</c:v>
                </c:pt>
                <c:pt idx="1">
                  <c:v>29</c:v>
                </c:pt>
                <c:pt idx="2">
                  <c:v>18</c:v>
                </c:pt>
                <c:pt idx="3">
                  <c:v>60.5</c:v>
                </c:pt>
                <c:pt idx="4">
                  <c:v>93</c:v>
                </c:pt>
                <c:pt idx="5">
                  <c:v>115</c:v>
                </c:pt>
                <c:pt idx="6">
                  <c:v>45</c:v>
                </c:pt>
                <c:pt idx="7">
                  <c:v>25</c:v>
                </c:pt>
              </c:numCache>
            </c:numRef>
          </c:val>
          <c:extLst>
            <c:ext xmlns:c16="http://schemas.microsoft.com/office/drawing/2014/chart" uri="{C3380CC4-5D6E-409C-BE32-E72D297353CC}">
              <c16:uniqueId val="{00000010-21C4-4ACD-A03F-42D729E41215}"/>
            </c:ext>
          </c:extLst>
        </c:ser>
        <c:dLbls>
          <c:showLegendKey val="0"/>
          <c:showVal val="0"/>
          <c:showCatName val="0"/>
          <c:showSerName val="0"/>
          <c:showPercent val="0"/>
          <c:showBubbleSize val="0"/>
        </c:dLbls>
        <c:gapWidth val="150"/>
        <c:axId val="786531376"/>
        <c:axId val="734022448"/>
      </c:barChart>
      <c:catAx>
        <c:axId val="78653137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734022448"/>
        <c:crosses val="autoZero"/>
        <c:auto val="1"/>
        <c:lblAlgn val="ctr"/>
        <c:lblOffset val="100"/>
        <c:noMultiLvlLbl val="0"/>
      </c:catAx>
      <c:valAx>
        <c:axId val="734022448"/>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786531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a:t>NUMERO DE DIAS ENTRE LA APERTURA Y LA ADJUDICACIÓN DEL PROCESO</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bar"/>
        <c:grouping val="clustered"/>
        <c:varyColors val="0"/>
        <c:ser>
          <c:idx val="0"/>
          <c:order val="0"/>
          <c:spPr>
            <a:solidFill>
              <a:schemeClr val="accent1"/>
            </a:solidFill>
            <a:ln>
              <a:noFill/>
            </a:ln>
            <a:effectLst/>
          </c:spPr>
          <c:invertIfNegative val="0"/>
          <c:cat>
            <c:strRef>
              <c:f>'[INDICADORES 2016 FINAL (002) (version 1).xlsb]PROMEDIO'!$C$18:$C$25</c:f>
              <c:strCache>
                <c:ptCount val="8"/>
                <c:pt idx="0">
                  <c:v>MC</c:v>
                </c:pt>
                <c:pt idx="1">
                  <c:v>SA</c:v>
                </c:pt>
                <c:pt idx="2">
                  <c:v>SI</c:v>
                </c:pt>
                <c:pt idx="3">
                  <c:v>IPV</c:v>
                </c:pt>
                <c:pt idx="4">
                  <c:v>SA/IPV</c:v>
                </c:pt>
                <c:pt idx="5">
                  <c:v>IPB</c:v>
                </c:pt>
                <c:pt idx="6">
                  <c:v>LP</c:v>
                </c:pt>
                <c:pt idx="7">
                  <c:v>CM</c:v>
                </c:pt>
              </c:strCache>
            </c:strRef>
          </c:cat>
          <c:val>
            <c:numRef>
              <c:f>'[INDICADORES 2016 FINAL (002) (version 1).xlsb]PROMEDIO'!$D$18:$D$25</c:f>
            </c:numRef>
          </c:val>
          <c:extLst>
            <c:ext xmlns:c16="http://schemas.microsoft.com/office/drawing/2014/chart" uri="{C3380CC4-5D6E-409C-BE32-E72D297353CC}">
              <c16:uniqueId val="{00000000-EB11-4FDA-A935-E29AAEE99548}"/>
            </c:ext>
          </c:extLst>
        </c:ser>
        <c:ser>
          <c:idx val="1"/>
          <c:order val="1"/>
          <c:spPr>
            <a:solidFill>
              <a:schemeClr val="accent2"/>
            </a:solidFill>
            <a:ln>
              <a:noFill/>
            </a:ln>
            <a:effectLst/>
          </c:spPr>
          <c:invertIfNegative val="0"/>
          <c:cat>
            <c:strRef>
              <c:f>'[INDICADORES 2016 FINAL (002) (version 1).xlsb]PROMEDIO'!$C$18:$C$25</c:f>
              <c:strCache>
                <c:ptCount val="8"/>
                <c:pt idx="0">
                  <c:v>MC</c:v>
                </c:pt>
                <c:pt idx="1">
                  <c:v>SA</c:v>
                </c:pt>
                <c:pt idx="2">
                  <c:v>SI</c:v>
                </c:pt>
                <c:pt idx="3">
                  <c:v>IPV</c:v>
                </c:pt>
                <c:pt idx="4">
                  <c:v>SA/IPV</c:v>
                </c:pt>
                <c:pt idx="5">
                  <c:v>IPB</c:v>
                </c:pt>
                <c:pt idx="6">
                  <c:v>LP</c:v>
                </c:pt>
                <c:pt idx="7">
                  <c:v>CM</c:v>
                </c:pt>
              </c:strCache>
            </c:strRef>
          </c:cat>
          <c:val>
            <c:numRef>
              <c:f>'[INDICADORES 2016 FINAL (002) (version 1).xlsb]PROMEDIO'!$E$18:$E$25</c:f>
            </c:numRef>
          </c:val>
          <c:extLst>
            <c:ext xmlns:c16="http://schemas.microsoft.com/office/drawing/2014/chart" uri="{C3380CC4-5D6E-409C-BE32-E72D297353CC}">
              <c16:uniqueId val="{00000001-EB11-4FDA-A935-E29AAEE99548}"/>
            </c:ext>
          </c:extLst>
        </c:ser>
        <c:ser>
          <c:idx val="2"/>
          <c:order val="2"/>
          <c:spPr>
            <a:solidFill>
              <a:schemeClr val="accent3"/>
            </a:solidFill>
            <a:ln>
              <a:noFill/>
            </a:ln>
            <a:effectLst/>
          </c:spPr>
          <c:invertIfNegative val="0"/>
          <c:dPt>
            <c:idx val="0"/>
            <c:invertIfNegative val="0"/>
            <c:bubble3D val="0"/>
            <c:spPr>
              <a:solidFill>
                <a:srgbClr val="FFFF00"/>
              </a:solidFill>
              <a:ln>
                <a:noFill/>
              </a:ln>
              <a:effectLst/>
              <a:sp3d/>
            </c:spPr>
            <c:extLst>
              <c:ext xmlns:c16="http://schemas.microsoft.com/office/drawing/2014/chart" uri="{C3380CC4-5D6E-409C-BE32-E72D297353CC}">
                <c16:uniqueId val="{00000003-EB11-4FDA-A935-E29AAEE99548}"/>
              </c:ext>
            </c:extLst>
          </c:dPt>
          <c:dPt>
            <c:idx val="1"/>
            <c:invertIfNegative val="0"/>
            <c:bubble3D val="0"/>
            <c:spPr>
              <a:solidFill>
                <a:srgbClr val="FF0000"/>
              </a:solidFill>
              <a:ln>
                <a:noFill/>
              </a:ln>
              <a:effectLst/>
              <a:sp3d/>
            </c:spPr>
            <c:extLst>
              <c:ext xmlns:c16="http://schemas.microsoft.com/office/drawing/2014/chart" uri="{C3380CC4-5D6E-409C-BE32-E72D297353CC}">
                <c16:uniqueId val="{00000005-EB11-4FDA-A935-E29AAEE99548}"/>
              </c:ext>
            </c:extLst>
          </c:dPt>
          <c:dPt>
            <c:idx val="2"/>
            <c:invertIfNegative val="0"/>
            <c:bubble3D val="0"/>
            <c:spPr>
              <a:solidFill>
                <a:srgbClr val="FF00FF"/>
              </a:solidFill>
              <a:ln>
                <a:noFill/>
              </a:ln>
              <a:effectLst/>
              <a:sp3d/>
            </c:spPr>
            <c:extLst>
              <c:ext xmlns:c16="http://schemas.microsoft.com/office/drawing/2014/chart" uri="{C3380CC4-5D6E-409C-BE32-E72D297353CC}">
                <c16:uniqueId val="{00000007-EB11-4FDA-A935-E29AAEE99548}"/>
              </c:ext>
            </c:extLst>
          </c:dPt>
          <c:dPt>
            <c:idx val="3"/>
            <c:invertIfNegative val="0"/>
            <c:bubble3D val="0"/>
            <c:spPr>
              <a:solidFill>
                <a:srgbClr val="00B050"/>
              </a:solidFill>
              <a:ln>
                <a:noFill/>
              </a:ln>
              <a:effectLst/>
              <a:sp3d/>
            </c:spPr>
            <c:extLst>
              <c:ext xmlns:c16="http://schemas.microsoft.com/office/drawing/2014/chart" uri="{C3380CC4-5D6E-409C-BE32-E72D297353CC}">
                <c16:uniqueId val="{00000009-EB11-4FDA-A935-E29AAEE99548}"/>
              </c:ext>
            </c:extLst>
          </c:dPt>
          <c:dPt>
            <c:idx val="4"/>
            <c:invertIfNegative val="0"/>
            <c:bubble3D val="0"/>
            <c:spPr>
              <a:solidFill>
                <a:srgbClr val="00B0F0"/>
              </a:solidFill>
              <a:ln>
                <a:noFill/>
              </a:ln>
              <a:effectLst/>
              <a:sp3d/>
            </c:spPr>
            <c:extLst>
              <c:ext xmlns:c16="http://schemas.microsoft.com/office/drawing/2014/chart" uri="{C3380CC4-5D6E-409C-BE32-E72D297353CC}">
                <c16:uniqueId val="{0000000B-EB11-4FDA-A935-E29AAEE99548}"/>
              </c:ext>
            </c:extLst>
          </c:dPt>
          <c:dPt>
            <c:idx val="5"/>
            <c:invertIfNegative val="0"/>
            <c:bubble3D val="0"/>
            <c:spPr>
              <a:solidFill>
                <a:srgbClr val="7030A0"/>
              </a:solidFill>
              <a:ln>
                <a:noFill/>
              </a:ln>
              <a:effectLst/>
              <a:sp3d/>
            </c:spPr>
            <c:extLst>
              <c:ext xmlns:c16="http://schemas.microsoft.com/office/drawing/2014/chart" uri="{C3380CC4-5D6E-409C-BE32-E72D297353CC}">
                <c16:uniqueId val="{0000000D-EB11-4FDA-A935-E29AAEE99548}"/>
              </c:ext>
            </c:extLst>
          </c:dPt>
          <c:dPt>
            <c:idx val="6"/>
            <c:invertIfNegative val="0"/>
            <c:bubble3D val="0"/>
            <c:spPr>
              <a:solidFill>
                <a:schemeClr val="accent6">
                  <a:lumMod val="75000"/>
                </a:schemeClr>
              </a:solidFill>
              <a:ln>
                <a:noFill/>
              </a:ln>
              <a:effectLst/>
              <a:sp3d/>
            </c:spPr>
            <c:extLst>
              <c:ext xmlns:c16="http://schemas.microsoft.com/office/drawing/2014/chart" uri="{C3380CC4-5D6E-409C-BE32-E72D297353CC}">
                <c16:uniqueId val="{0000000F-EB11-4FDA-A935-E29AAEE99548}"/>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INDICADORES 2016 FINAL (002) (version 1).xlsb]PROMEDIO'!$C$18:$C$25</c:f>
              <c:strCache>
                <c:ptCount val="8"/>
                <c:pt idx="0">
                  <c:v>MC</c:v>
                </c:pt>
                <c:pt idx="1">
                  <c:v>SA</c:v>
                </c:pt>
                <c:pt idx="2">
                  <c:v>SI</c:v>
                </c:pt>
                <c:pt idx="3">
                  <c:v>IPV</c:v>
                </c:pt>
                <c:pt idx="4">
                  <c:v>SA/IPV</c:v>
                </c:pt>
                <c:pt idx="5">
                  <c:v>IPB</c:v>
                </c:pt>
                <c:pt idx="6">
                  <c:v>LP</c:v>
                </c:pt>
                <c:pt idx="7">
                  <c:v>CM</c:v>
                </c:pt>
              </c:strCache>
            </c:strRef>
          </c:cat>
          <c:val>
            <c:numRef>
              <c:f>'[INDICADORES 2016 FINAL (002) (version 1).xlsb]PROMEDIO'!$F$18:$F$25</c:f>
              <c:numCache>
                <c:formatCode>0</c:formatCode>
                <c:ptCount val="8"/>
                <c:pt idx="0">
                  <c:v>11</c:v>
                </c:pt>
                <c:pt idx="1">
                  <c:v>46</c:v>
                </c:pt>
                <c:pt idx="2">
                  <c:v>27</c:v>
                </c:pt>
                <c:pt idx="3">
                  <c:v>63</c:v>
                </c:pt>
                <c:pt idx="4">
                  <c:v>129</c:v>
                </c:pt>
                <c:pt idx="5">
                  <c:v>130</c:v>
                </c:pt>
                <c:pt idx="6">
                  <c:v>73</c:v>
                </c:pt>
                <c:pt idx="7">
                  <c:v>48</c:v>
                </c:pt>
              </c:numCache>
            </c:numRef>
          </c:val>
          <c:extLst>
            <c:ext xmlns:c16="http://schemas.microsoft.com/office/drawing/2014/chart" uri="{C3380CC4-5D6E-409C-BE32-E72D297353CC}">
              <c16:uniqueId val="{00000010-EB11-4FDA-A935-E29AAEE99548}"/>
            </c:ext>
          </c:extLst>
        </c:ser>
        <c:dLbls>
          <c:showLegendKey val="0"/>
          <c:showVal val="0"/>
          <c:showCatName val="0"/>
          <c:showSerName val="0"/>
          <c:showPercent val="0"/>
          <c:showBubbleSize val="0"/>
        </c:dLbls>
        <c:gapWidth val="150"/>
        <c:axId val="785590208"/>
        <c:axId val="785591296"/>
      </c:barChart>
      <c:catAx>
        <c:axId val="78559020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785591296"/>
        <c:crosses val="autoZero"/>
        <c:auto val="1"/>
        <c:lblAlgn val="ctr"/>
        <c:lblOffset val="100"/>
        <c:noMultiLvlLbl val="0"/>
      </c:catAx>
      <c:valAx>
        <c:axId val="785591296"/>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7855902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CO"/>
              <a:t>PROPONENTES</a:t>
            </a:r>
          </a:p>
        </c:rich>
      </c:tx>
      <c:overlay val="0"/>
      <c:spPr>
        <a:noFill/>
        <a:ln>
          <a:noFill/>
        </a:ln>
        <a:effectLst/>
      </c:spPr>
    </c:title>
    <c:autoTitleDeleted val="0"/>
    <c:plotArea>
      <c:layout/>
      <c:barChart>
        <c:barDir val="col"/>
        <c:grouping val="clustered"/>
        <c:varyColors val="0"/>
        <c:ser>
          <c:idx val="0"/>
          <c:order val="0"/>
          <c:spPr>
            <a:ln w="28575" cap="rnd">
              <a:solidFill>
                <a:schemeClr val="accent1"/>
              </a:solidFill>
              <a:round/>
            </a:ln>
            <a:effectLst/>
          </c:spPr>
          <c:invertIfNegative val="0"/>
          <c:dLbls>
            <c:spPr>
              <a:noFill/>
              <a:ln>
                <a:noFill/>
              </a:ln>
              <a:effectLst/>
            </c:spPr>
            <c:txPr>
              <a:bodyPr wrap="square" lIns="38100" tIns="19050" rIns="38100" bIns="19050" anchor="ctr">
                <a:spAutoFit/>
              </a:bodyPr>
              <a:lstStyle/>
              <a:p>
                <a:pPr>
                  <a:defRPr sz="1200" b="0" baseline="0"/>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INDICADORES 2016 FINAL (002) (version 1).xlsb]P. PROPONENTES'!$B$5:$B$13</c:f>
              <c:strCache>
                <c:ptCount val="9"/>
                <c:pt idx="0">
                  <c:v>MC</c:v>
                </c:pt>
                <c:pt idx="1">
                  <c:v>SA</c:v>
                </c:pt>
                <c:pt idx="2">
                  <c:v>IPV</c:v>
                </c:pt>
                <c:pt idx="3">
                  <c:v>SA-IPV</c:v>
                </c:pt>
                <c:pt idx="4">
                  <c:v>IPB</c:v>
                </c:pt>
                <c:pt idx="5">
                  <c:v>SI</c:v>
                </c:pt>
                <c:pt idx="6">
                  <c:v>LP</c:v>
                </c:pt>
                <c:pt idx="7">
                  <c:v>CM</c:v>
                </c:pt>
                <c:pt idx="8">
                  <c:v>TOTAL </c:v>
                </c:pt>
              </c:strCache>
            </c:strRef>
          </c:cat>
          <c:val>
            <c:numRef>
              <c:f>'[INDICADORES 2016 FINAL (002) (version 1).xlsb]P. PROPONENTES'!$C$5:$C$13</c:f>
              <c:numCache>
                <c:formatCode>0</c:formatCode>
                <c:ptCount val="9"/>
                <c:pt idx="0">
                  <c:v>99</c:v>
                </c:pt>
                <c:pt idx="1">
                  <c:v>98</c:v>
                </c:pt>
                <c:pt idx="2">
                  <c:v>1</c:v>
                </c:pt>
                <c:pt idx="3">
                  <c:v>7</c:v>
                </c:pt>
                <c:pt idx="4">
                  <c:v>2</c:v>
                </c:pt>
                <c:pt idx="5">
                  <c:v>11</c:v>
                </c:pt>
                <c:pt idx="6">
                  <c:v>21</c:v>
                </c:pt>
                <c:pt idx="7">
                  <c:v>344</c:v>
                </c:pt>
                <c:pt idx="8">
                  <c:v>583</c:v>
                </c:pt>
              </c:numCache>
            </c:numRef>
          </c:val>
          <c:extLst>
            <c:ext xmlns:c16="http://schemas.microsoft.com/office/drawing/2014/chart" uri="{C3380CC4-5D6E-409C-BE32-E72D297353CC}">
              <c16:uniqueId val="{00000000-BE9F-4839-A5A5-20D6BC23A4D8}"/>
            </c:ext>
          </c:extLst>
        </c:ser>
        <c:dLbls>
          <c:showLegendKey val="0"/>
          <c:showVal val="0"/>
          <c:showCatName val="0"/>
          <c:showSerName val="0"/>
          <c:showPercent val="0"/>
          <c:showBubbleSize val="0"/>
        </c:dLbls>
        <c:gapWidth val="150"/>
        <c:axId val="785586944"/>
        <c:axId val="526620080"/>
      </c:barChart>
      <c:lineChart>
        <c:grouping val="standard"/>
        <c:varyColors val="0"/>
        <c:ser>
          <c:idx val="1"/>
          <c:order val="1"/>
          <c:marker>
            <c:symbol val="none"/>
          </c:marker>
          <c:dLbls>
            <c:spPr>
              <a:noFill/>
              <a:ln>
                <a:noFill/>
              </a:ln>
              <a:effectLst/>
            </c:spPr>
            <c:txPr>
              <a:bodyPr wrap="square" lIns="38100" tIns="19050" rIns="38100" bIns="19050" anchor="ctr">
                <a:spAutoFit/>
              </a:bodyPr>
              <a:lstStyle/>
              <a:p>
                <a:pPr>
                  <a:defRPr sz="1200" b="1" baseline="0"/>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INDICADORES 2016 FINAL (002) (version 1).xlsb]P. PROPONENTES'!$B$5:$B$13</c:f>
              <c:strCache>
                <c:ptCount val="9"/>
                <c:pt idx="0">
                  <c:v>MC</c:v>
                </c:pt>
                <c:pt idx="1">
                  <c:v>SA</c:v>
                </c:pt>
                <c:pt idx="2">
                  <c:v>IPV</c:v>
                </c:pt>
                <c:pt idx="3">
                  <c:v>SA-IPV</c:v>
                </c:pt>
                <c:pt idx="4">
                  <c:v>IPB</c:v>
                </c:pt>
                <c:pt idx="5">
                  <c:v>SI</c:v>
                </c:pt>
                <c:pt idx="6">
                  <c:v>LP</c:v>
                </c:pt>
                <c:pt idx="7">
                  <c:v>CM</c:v>
                </c:pt>
                <c:pt idx="8">
                  <c:v>TOTAL </c:v>
                </c:pt>
              </c:strCache>
            </c:strRef>
          </c:cat>
          <c:val>
            <c:numRef>
              <c:f>'[INDICADORES 2016 FINAL (002) (version 1).xlsb]P. PROPONENTES'!$D$5:$D$13</c:f>
              <c:numCache>
                <c:formatCode>General</c:formatCode>
                <c:ptCount val="9"/>
                <c:pt idx="0">
                  <c:v>25</c:v>
                </c:pt>
                <c:pt idx="1">
                  <c:v>7</c:v>
                </c:pt>
                <c:pt idx="2">
                  <c:v>3</c:v>
                </c:pt>
                <c:pt idx="3">
                  <c:v>2</c:v>
                </c:pt>
                <c:pt idx="4">
                  <c:v>4</c:v>
                </c:pt>
                <c:pt idx="5">
                  <c:v>1</c:v>
                </c:pt>
                <c:pt idx="6">
                  <c:v>1</c:v>
                </c:pt>
                <c:pt idx="7">
                  <c:v>11</c:v>
                </c:pt>
              </c:numCache>
            </c:numRef>
          </c:val>
          <c:smooth val="0"/>
          <c:extLst>
            <c:ext xmlns:c16="http://schemas.microsoft.com/office/drawing/2014/chart" uri="{C3380CC4-5D6E-409C-BE32-E72D297353CC}">
              <c16:uniqueId val="{00000000-53FB-4584-82F6-BC07256DAD18}"/>
            </c:ext>
          </c:extLst>
        </c:ser>
        <c:dLbls>
          <c:showLegendKey val="0"/>
          <c:showVal val="0"/>
          <c:showCatName val="0"/>
          <c:showSerName val="0"/>
          <c:showPercent val="0"/>
          <c:showBubbleSize val="0"/>
        </c:dLbls>
        <c:marker val="1"/>
        <c:smooth val="0"/>
        <c:axId val="785586944"/>
        <c:axId val="526620080"/>
      </c:lineChart>
      <c:catAx>
        <c:axId val="7855869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526620080"/>
        <c:crosses val="autoZero"/>
        <c:auto val="1"/>
        <c:lblAlgn val="ctr"/>
        <c:lblOffset val="100"/>
        <c:noMultiLvlLbl val="0"/>
      </c:catAx>
      <c:valAx>
        <c:axId val="526620080"/>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785586944"/>
        <c:crosses val="autoZero"/>
        <c:crossBetween val="between"/>
      </c:valAx>
      <c:spPr>
        <a:noFill/>
        <a:ln>
          <a:noFill/>
        </a:ln>
        <a:effectLst/>
      </c:spPr>
    </c:plotArea>
    <c:plotVisOnly val="1"/>
    <c:dispBlanksAs val="zero"/>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s-CO"/>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s-CO"/>
              <a:t>DESIERTO</a:t>
            </a:r>
          </a:p>
        </c:rich>
      </c:tx>
      <c:overlay val="0"/>
      <c:spPr>
        <a:noFill/>
        <a:ln>
          <a:noFill/>
        </a:ln>
        <a:effectLst/>
      </c:spPr>
    </c:title>
    <c:autoTitleDeleted val="0"/>
    <c:plotArea>
      <c:layout/>
      <c:barChart>
        <c:barDir val="col"/>
        <c:grouping val="clustered"/>
        <c:varyColors val="0"/>
        <c:ser>
          <c:idx val="0"/>
          <c:order val="0"/>
          <c:invertIfNegative val="0"/>
          <c:dPt>
            <c:idx val="0"/>
            <c:invertIfNegative val="0"/>
            <c:bubble3D val="0"/>
            <c:spPr>
              <a:solidFill>
                <a:schemeClr val="accent1"/>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1-629E-43C7-8FCA-CC7065DE06F3}"/>
              </c:ext>
            </c:extLst>
          </c:dPt>
          <c:dPt>
            <c:idx val="1"/>
            <c:invertIfNegative val="0"/>
            <c:bubble3D val="0"/>
            <c:spPr>
              <a:solidFill>
                <a:schemeClr val="accent2"/>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3-629E-43C7-8FCA-CC7065DE06F3}"/>
              </c:ext>
            </c:extLst>
          </c:dPt>
          <c:dPt>
            <c:idx val="2"/>
            <c:invertIfNegative val="0"/>
            <c:bubble3D val="0"/>
            <c:spPr>
              <a:solidFill>
                <a:schemeClr val="accent3"/>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5-629E-43C7-8FCA-CC7065DE06F3}"/>
              </c:ext>
            </c:extLst>
          </c:dPt>
          <c:dPt>
            <c:idx val="3"/>
            <c:invertIfNegative val="0"/>
            <c:bubble3D val="0"/>
            <c:spPr>
              <a:solidFill>
                <a:schemeClr val="accent4"/>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7-629E-43C7-8FCA-CC7065DE06F3}"/>
              </c:ext>
            </c:extLst>
          </c:dPt>
          <c:dPt>
            <c:idx val="4"/>
            <c:invertIfNegative val="0"/>
            <c:bubble3D val="0"/>
            <c:spPr>
              <a:solidFill>
                <a:schemeClr val="accent5"/>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9-629E-43C7-8FCA-CC7065DE06F3}"/>
              </c:ext>
            </c:extLst>
          </c:dPt>
          <c:dPt>
            <c:idx val="5"/>
            <c:invertIfNegative val="0"/>
            <c:bubble3D val="0"/>
            <c:spPr>
              <a:solidFill>
                <a:schemeClr val="accent6"/>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B-629E-43C7-8FCA-CC7065DE06F3}"/>
              </c:ext>
            </c:extLst>
          </c:dPt>
          <c:dPt>
            <c:idx val="6"/>
            <c:invertIfNegative val="0"/>
            <c:bubble3D val="0"/>
            <c:spPr>
              <a:solidFill>
                <a:schemeClr val="accent1">
                  <a:lumMod val="6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D-629E-43C7-8FCA-CC7065DE06F3}"/>
              </c:ext>
            </c:extLst>
          </c:dPt>
          <c:dPt>
            <c:idx val="7"/>
            <c:invertIfNegative val="0"/>
            <c:bubble3D val="0"/>
            <c:spPr>
              <a:solidFill>
                <a:schemeClr val="accent2">
                  <a:lumMod val="60000"/>
                </a:schemeClr>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F-629E-43C7-8FCA-CC7065DE06F3}"/>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s-CO"/>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INDICADORES 2016 FINAL (002) (version 1).xlsb]DESI- REVO'!$B$5:$B$12</c:f>
              <c:strCache>
                <c:ptCount val="8"/>
                <c:pt idx="0">
                  <c:v>MC</c:v>
                </c:pt>
                <c:pt idx="1">
                  <c:v>SA</c:v>
                </c:pt>
                <c:pt idx="2">
                  <c:v>SI</c:v>
                </c:pt>
                <c:pt idx="3">
                  <c:v>APPS</c:v>
                </c:pt>
                <c:pt idx="4">
                  <c:v>IPB</c:v>
                </c:pt>
                <c:pt idx="5">
                  <c:v>IPV</c:v>
                </c:pt>
                <c:pt idx="6">
                  <c:v>LP</c:v>
                </c:pt>
                <c:pt idx="7">
                  <c:v>CM</c:v>
                </c:pt>
              </c:strCache>
            </c:strRef>
          </c:cat>
          <c:val>
            <c:numRef>
              <c:f>'[INDICADORES 2016 FINAL (002) (version 1).xlsb]DESI- REVO'!$C$5:$C$12</c:f>
              <c:numCache>
                <c:formatCode>General</c:formatCode>
                <c:ptCount val="8"/>
                <c:pt idx="0" formatCode="0">
                  <c:v>2</c:v>
                </c:pt>
                <c:pt idx="4" formatCode="0">
                  <c:v>2</c:v>
                </c:pt>
                <c:pt idx="7" formatCode="0">
                  <c:v>1</c:v>
                </c:pt>
              </c:numCache>
            </c:numRef>
          </c:val>
          <c:extLst>
            <c:ext xmlns:c16="http://schemas.microsoft.com/office/drawing/2014/chart" uri="{C3380CC4-5D6E-409C-BE32-E72D297353CC}">
              <c16:uniqueId val="{00000010-629E-43C7-8FCA-CC7065DE06F3}"/>
            </c:ext>
          </c:extLst>
        </c:ser>
        <c:dLbls>
          <c:showLegendKey val="0"/>
          <c:showVal val="0"/>
          <c:showCatName val="0"/>
          <c:showSerName val="0"/>
          <c:showPercent val="0"/>
          <c:showBubbleSize val="0"/>
        </c:dLbls>
        <c:gapWidth val="100"/>
        <c:axId val="757769536"/>
        <c:axId val="757766272"/>
      </c:barChart>
      <c:catAx>
        <c:axId val="757769536"/>
        <c:scaling>
          <c:orientation val="minMax"/>
        </c:scaling>
        <c:delete val="0"/>
        <c:axPos val="b"/>
        <c:numFmt formatCode="General" sourceLinked="1"/>
        <c:majorTickMark val="out"/>
        <c:minorTickMark val="none"/>
        <c:tickLblPos val="nextTo"/>
        <c:crossAx val="757766272"/>
        <c:crosses val="autoZero"/>
        <c:auto val="1"/>
        <c:lblAlgn val="ctr"/>
        <c:lblOffset val="100"/>
        <c:noMultiLvlLbl val="0"/>
      </c:catAx>
      <c:valAx>
        <c:axId val="757766272"/>
        <c:scaling>
          <c:orientation val="minMax"/>
        </c:scaling>
        <c:delete val="1"/>
        <c:axPos val="l"/>
        <c:majorGridlines/>
        <c:numFmt formatCode="0" sourceLinked="1"/>
        <c:majorTickMark val="out"/>
        <c:minorTickMark val="none"/>
        <c:tickLblPos val="nextTo"/>
        <c:crossAx val="757769536"/>
        <c:crosses val="autoZero"/>
        <c:crossBetween val="between"/>
      </c:valAx>
      <c:spPr>
        <a:noFill/>
        <a:ln>
          <a:noFill/>
        </a:ln>
        <a:effectLst/>
        <a:sp3d/>
      </c:spPr>
    </c:plotArea>
    <c:plotVisOnly val="1"/>
    <c:dispBlanksAs val="zero"/>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s-CO"/>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cap="none" spc="50" normalizeH="0" baseline="0">
                <a:solidFill>
                  <a:schemeClr val="tx1">
                    <a:lumMod val="65000"/>
                    <a:lumOff val="35000"/>
                  </a:schemeClr>
                </a:solidFill>
                <a:latin typeface="+mj-lt"/>
                <a:ea typeface="+mj-ea"/>
                <a:cs typeface="+mj-cs"/>
              </a:defRPr>
            </a:pPr>
            <a:r>
              <a:rPr lang="es-ES"/>
              <a:t>ADENDAS</a:t>
            </a:r>
          </a:p>
        </c:rich>
      </c:tx>
      <c:overlay val="0"/>
      <c:spPr>
        <a:noFill/>
        <a:ln>
          <a:noFill/>
        </a:ln>
        <a:effectLst/>
      </c:spPr>
      <c:txPr>
        <a:bodyPr rot="0" spcFirstLastPara="1" vertOverflow="ellipsis" vert="horz" wrap="square" anchor="ctr" anchorCtr="1"/>
        <a:lstStyle/>
        <a:p>
          <a:pPr>
            <a:defRPr sz="1600" b="0" i="0" u="none" strike="noStrike" kern="1200" cap="none" spc="50" normalizeH="0" baseline="0">
              <a:solidFill>
                <a:schemeClr val="tx1">
                  <a:lumMod val="65000"/>
                  <a:lumOff val="35000"/>
                </a:schemeClr>
              </a:solidFill>
              <a:latin typeface="+mj-lt"/>
              <a:ea typeface="+mj-ea"/>
              <a:cs typeface="+mj-cs"/>
            </a:defRPr>
          </a:pPr>
          <a:endParaRPr lang="es-CO"/>
        </a:p>
      </c:txPr>
    </c:title>
    <c:autoTitleDeleted val="0"/>
    <c:plotArea>
      <c:layout>
        <c:manualLayout>
          <c:layoutTarget val="inner"/>
          <c:xMode val="edge"/>
          <c:yMode val="edge"/>
          <c:x val="4.0025371828521436E-2"/>
          <c:y val="0.15782407407407409"/>
          <c:w val="0.9155301837270341"/>
          <c:h val="0.61498432487605714"/>
        </c:manualLayout>
      </c:layout>
      <c:barChart>
        <c:barDir val="col"/>
        <c:grouping val="clustered"/>
        <c:varyColors val="0"/>
        <c:ser>
          <c:idx val="0"/>
          <c:order val="0"/>
          <c:tx>
            <c:strRef>
              <c:f>'[INDICADORES 2016 FINAL (002) (version 1).xlsb]ADENDAS'!$C$5</c:f>
              <c:strCache>
                <c:ptCount val="1"/>
                <c:pt idx="0">
                  <c:v>PLAZO</c:v>
                </c:pt>
              </c:strCache>
            </c:strRef>
          </c:tx>
          <c:spPr>
            <a:solidFill>
              <a:schemeClr val="accent1">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DICADORES 2016 FINAL (002) (version 1).xlsb]ADENDAS'!$B$6:$B$14</c:f>
              <c:strCache>
                <c:ptCount val="9"/>
                <c:pt idx="0">
                  <c:v>MC</c:v>
                </c:pt>
                <c:pt idx="1">
                  <c:v>CM</c:v>
                </c:pt>
                <c:pt idx="2">
                  <c:v>SI</c:v>
                </c:pt>
                <c:pt idx="3">
                  <c:v>IPV</c:v>
                </c:pt>
                <c:pt idx="4">
                  <c:v>SA/IPV</c:v>
                </c:pt>
                <c:pt idx="5">
                  <c:v>IPB</c:v>
                </c:pt>
                <c:pt idx="6">
                  <c:v>LP</c:v>
                </c:pt>
                <c:pt idx="7">
                  <c:v>SA</c:v>
                </c:pt>
                <c:pt idx="8">
                  <c:v>TOTAL</c:v>
                </c:pt>
              </c:strCache>
            </c:strRef>
          </c:cat>
          <c:val>
            <c:numRef>
              <c:f>'[INDICADORES 2016 FINAL (002) (version 1).xlsb]ADENDAS'!$C$6:$C$14</c:f>
              <c:numCache>
                <c:formatCode>0</c:formatCode>
                <c:ptCount val="9"/>
                <c:pt idx="0">
                  <c:v>7</c:v>
                </c:pt>
                <c:pt idx="1">
                  <c:v>16</c:v>
                </c:pt>
                <c:pt idx="2">
                  <c:v>0</c:v>
                </c:pt>
                <c:pt idx="3">
                  <c:v>0</c:v>
                </c:pt>
                <c:pt idx="4">
                  <c:v>2</c:v>
                </c:pt>
                <c:pt idx="5">
                  <c:v>3</c:v>
                </c:pt>
                <c:pt idx="6">
                  <c:v>1</c:v>
                </c:pt>
                <c:pt idx="7">
                  <c:v>4</c:v>
                </c:pt>
                <c:pt idx="8">
                  <c:v>33</c:v>
                </c:pt>
              </c:numCache>
            </c:numRef>
          </c:val>
          <c:extLst>
            <c:ext xmlns:c16="http://schemas.microsoft.com/office/drawing/2014/chart" uri="{C3380CC4-5D6E-409C-BE32-E72D297353CC}">
              <c16:uniqueId val="{00000000-59D8-4044-B99F-4EE47687A8D1}"/>
            </c:ext>
          </c:extLst>
        </c:ser>
        <c:ser>
          <c:idx val="1"/>
          <c:order val="1"/>
          <c:tx>
            <c:strRef>
              <c:f>'[INDICADORES 2016 FINAL (002) (version 1).xlsb]ADENDAS'!$D$5</c:f>
              <c:strCache>
                <c:ptCount val="1"/>
                <c:pt idx="0">
                  <c:v>PLIEGO</c:v>
                </c:pt>
              </c:strCache>
            </c:strRef>
          </c:tx>
          <c:spPr>
            <a:solidFill>
              <a:schemeClr val="accent2">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DICADORES 2016 FINAL (002) (version 1).xlsb]ADENDAS'!$B$6:$B$14</c:f>
              <c:strCache>
                <c:ptCount val="9"/>
                <c:pt idx="0">
                  <c:v>MC</c:v>
                </c:pt>
                <c:pt idx="1">
                  <c:v>CM</c:v>
                </c:pt>
                <c:pt idx="2">
                  <c:v>SI</c:v>
                </c:pt>
                <c:pt idx="3">
                  <c:v>IPV</c:v>
                </c:pt>
                <c:pt idx="4">
                  <c:v>SA/IPV</c:v>
                </c:pt>
                <c:pt idx="5">
                  <c:v>IPB</c:v>
                </c:pt>
                <c:pt idx="6">
                  <c:v>LP</c:v>
                </c:pt>
                <c:pt idx="7">
                  <c:v>SA</c:v>
                </c:pt>
                <c:pt idx="8">
                  <c:v>TOTAL</c:v>
                </c:pt>
              </c:strCache>
            </c:strRef>
          </c:cat>
          <c:val>
            <c:numRef>
              <c:f>'[INDICADORES 2016 FINAL (002) (version 1).xlsb]ADENDAS'!$D$6:$D$14</c:f>
              <c:numCache>
                <c:formatCode>0</c:formatCode>
                <c:ptCount val="9"/>
                <c:pt idx="0">
                  <c:v>3</c:v>
                </c:pt>
                <c:pt idx="1">
                  <c:v>5</c:v>
                </c:pt>
                <c:pt idx="2">
                  <c:v>1</c:v>
                </c:pt>
                <c:pt idx="3">
                  <c:v>0</c:v>
                </c:pt>
                <c:pt idx="4">
                  <c:v>1</c:v>
                </c:pt>
                <c:pt idx="5">
                  <c:v>9</c:v>
                </c:pt>
                <c:pt idx="6" formatCode="General">
                  <c:v>1</c:v>
                </c:pt>
                <c:pt idx="7" formatCode="General">
                  <c:v>5</c:v>
                </c:pt>
                <c:pt idx="8">
                  <c:v>25</c:v>
                </c:pt>
              </c:numCache>
            </c:numRef>
          </c:val>
          <c:extLst>
            <c:ext xmlns:c16="http://schemas.microsoft.com/office/drawing/2014/chart" uri="{C3380CC4-5D6E-409C-BE32-E72D297353CC}">
              <c16:uniqueId val="{00000001-59D8-4044-B99F-4EE47687A8D1}"/>
            </c:ext>
          </c:extLst>
        </c:ser>
        <c:ser>
          <c:idx val="2"/>
          <c:order val="2"/>
          <c:tx>
            <c:strRef>
              <c:f>'[INDICADORES 2016 FINAL (002) (version 1).xlsb]ADENDAS'!$E$5</c:f>
              <c:strCache>
                <c:ptCount val="1"/>
                <c:pt idx="0">
                  <c:v>PLAZO /PLIEGO</c:v>
                </c:pt>
              </c:strCache>
            </c:strRef>
          </c:tx>
          <c:spPr>
            <a:solidFill>
              <a:schemeClr val="accent3">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DICADORES 2016 FINAL (002) (version 1).xlsb]ADENDAS'!$B$6:$B$14</c:f>
              <c:strCache>
                <c:ptCount val="9"/>
                <c:pt idx="0">
                  <c:v>MC</c:v>
                </c:pt>
                <c:pt idx="1">
                  <c:v>CM</c:v>
                </c:pt>
                <c:pt idx="2">
                  <c:v>SI</c:v>
                </c:pt>
                <c:pt idx="3">
                  <c:v>IPV</c:v>
                </c:pt>
                <c:pt idx="4">
                  <c:v>SA/IPV</c:v>
                </c:pt>
                <c:pt idx="5">
                  <c:v>IPB</c:v>
                </c:pt>
                <c:pt idx="6">
                  <c:v>LP</c:v>
                </c:pt>
                <c:pt idx="7">
                  <c:v>SA</c:v>
                </c:pt>
                <c:pt idx="8">
                  <c:v>TOTAL</c:v>
                </c:pt>
              </c:strCache>
            </c:strRef>
          </c:cat>
          <c:val>
            <c:numRef>
              <c:f>'[INDICADORES 2016 FINAL (002) (version 1).xlsb]ADENDAS'!$E$6:$E$14</c:f>
              <c:numCache>
                <c:formatCode>0</c:formatCode>
                <c:ptCount val="9"/>
                <c:pt idx="0" formatCode="General">
                  <c:v>0</c:v>
                </c:pt>
                <c:pt idx="1">
                  <c:v>3</c:v>
                </c:pt>
                <c:pt idx="2">
                  <c:v>0</c:v>
                </c:pt>
                <c:pt idx="3">
                  <c:v>0</c:v>
                </c:pt>
                <c:pt idx="4">
                  <c:v>2</c:v>
                </c:pt>
                <c:pt idx="5">
                  <c:v>0</c:v>
                </c:pt>
                <c:pt idx="6" formatCode="General">
                  <c:v>0</c:v>
                </c:pt>
                <c:pt idx="7">
                  <c:v>0</c:v>
                </c:pt>
                <c:pt idx="8">
                  <c:v>5</c:v>
                </c:pt>
              </c:numCache>
            </c:numRef>
          </c:val>
          <c:extLst>
            <c:ext xmlns:c16="http://schemas.microsoft.com/office/drawing/2014/chart" uri="{C3380CC4-5D6E-409C-BE32-E72D297353CC}">
              <c16:uniqueId val="{00000000-95B0-457D-B3F4-BBB635D8CF39}"/>
            </c:ext>
          </c:extLst>
        </c:ser>
        <c:ser>
          <c:idx val="3"/>
          <c:order val="3"/>
          <c:tx>
            <c:strRef>
              <c:f>'[INDICADORES 2016 FINAL (002) (version 1).xlsb]ADENDAS'!$F$5</c:f>
              <c:strCache>
                <c:ptCount val="1"/>
                <c:pt idx="0">
                  <c:v>TOTAL</c:v>
                </c:pt>
              </c:strCache>
            </c:strRef>
          </c:tx>
          <c:spPr>
            <a:solidFill>
              <a:schemeClr val="accent4">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INDICADORES 2016 FINAL (002) (version 1).xlsb]ADENDAS'!$B$6:$B$14</c:f>
              <c:strCache>
                <c:ptCount val="9"/>
                <c:pt idx="0">
                  <c:v>MC</c:v>
                </c:pt>
                <c:pt idx="1">
                  <c:v>CM</c:v>
                </c:pt>
                <c:pt idx="2">
                  <c:v>SI</c:v>
                </c:pt>
                <c:pt idx="3">
                  <c:v>IPV</c:v>
                </c:pt>
                <c:pt idx="4">
                  <c:v>SA/IPV</c:v>
                </c:pt>
                <c:pt idx="5">
                  <c:v>IPB</c:v>
                </c:pt>
                <c:pt idx="6">
                  <c:v>LP</c:v>
                </c:pt>
                <c:pt idx="7">
                  <c:v>SA</c:v>
                </c:pt>
                <c:pt idx="8">
                  <c:v>TOTAL</c:v>
                </c:pt>
              </c:strCache>
            </c:strRef>
          </c:cat>
          <c:val>
            <c:numRef>
              <c:f>'[INDICADORES 2016 FINAL (002) (version 1).xlsb]ADENDAS'!$F$6:$F$14</c:f>
              <c:numCache>
                <c:formatCode>0</c:formatCode>
                <c:ptCount val="9"/>
                <c:pt idx="0">
                  <c:v>10</c:v>
                </c:pt>
                <c:pt idx="1">
                  <c:v>24</c:v>
                </c:pt>
                <c:pt idx="2">
                  <c:v>1</c:v>
                </c:pt>
                <c:pt idx="3">
                  <c:v>0</c:v>
                </c:pt>
                <c:pt idx="4">
                  <c:v>5</c:v>
                </c:pt>
                <c:pt idx="5">
                  <c:v>12</c:v>
                </c:pt>
                <c:pt idx="6">
                  <c:v>2</c:v>
                </c:pt>
                <c:pt idx="7">
                  <c:v>9</c:v>
                </c:pt>
                <c:pt idx="8">
                  <c:v>63</c:v>
                </c:pt>
              </c:numCache>
            </c:numRef>
          </c:val>
          <c:extLst>
            <c:ext xmlns:c16="http://schemas.microsoft.com/office/drawing/2014/chart" uri="{C3380CC4-5D6E-409C-BE32-E72D297353CC}">
              <c16:uniqueId val="{00000001-95B0-457D-B3F4-BBB635D8CF39}"/>
            </c:ext>
          </c:extLst>
        </c:ser>
        <c:dLbls>
          <c:showLegendKey val="0"/>
          <c:showVal val="0"/>
          <c:showCatName val="0"/>
          <c:showSerName val="0"/>
          <c:showPercent val="0"/>
          <c:showBubbleSize val="0"/>
        </c:dLbls>
        <c:gapWidth val="80"/>
        <c:overlap val="25"/>
        <c:axId val="785582048"/>
        <c:axId val="526621168"/>
      </c:barChart>
      <c:catAx>
        <c:axId val="785582048"/>
        <c:scaling>
          <c:orientation val="minMax"/>
        </c:scaling>
        <c:delete val="0"/>
        <c:axPos val="b"/>
        <c:numFmt formatCode="General" sourceLinked="1"/>
        <c:majorTickMark val="none"/>
        <c:minorTickMark val="none"/>
        <c:tickLblPos val="nextTo"/>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cap="none" spc="20" normalizeH="0" baseline="0">
                <a:solidFill>
                  <a:schemeClr val="tx1">
                    <a:lumMod val="65000"/>
                    <a:lumOff val="35000"/>
                  </a:schemeClr>
                </a:solidFill>
                <a:latin typeface="+mn-lt"/>
                <a:ea typeface="+mn-ea"/>
                <a:cs typeface="+mn-cs"/>
              </a:defRPr>
            </a:pPr>
            <a:endParaRPr lang="es-CO"/>
          </a:p>
        </c:txPr>
        <c:crossAx val="526621168"/>
        <c:crosses val="autoZero"/>
        <c:auto val="1"/>
        <c:lblAlgn val="ctr"/>
        <c:lblOffset val="100"/>
        <c:noMultiLvlLbl val="0"/>
      </c:catAx>
      <c:valAx>
        <c:axId val="526621168"/>
        <c:scaling>
          <c:orientation val="minMax"/>
        </c:scaling>
        <c:delete val="1"/>
        <c:axPos val="l"/>
        <c:majorGridlines>
          <c:spPr>
            <a:ln w="9525" cap="flat" cmpd="sng" algn="ctr">
              <a:solidFill>
                <a:schemeClr val="tx1">
                  <a:lumMod val="5000"/>
                  <a:lumOff val="95000"/>
                </a:schemeClr>
              </a:solidFill>
              <a:round/>
            </a:ln>
            <a:effectLst/>
          </c:spPr>
        </c:majorGridlines>
        <c:numFmt formatCode="0" sourceLinked="1"/>
        <c:majorTickMark val="none"/>
        <c:minorTickMark val="none"/>
        <c:tickLblPos val="nextTo"/>
        <c:crossAx val="78558204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s-CO"/>
              <a:t>CONTRATOS CON SUPERVISIÓN E INTERVENTORIA </a:t>
            </a:r>
          </a:p>
        </c:rich>
      </c:tx>
      <c:layout>
        <c:manualLayout>
          <c:xMode val="edge"/>
          <c:yMode val="edge"/>
          <c:x val="0.20482774154106392"/>
          <c:y val="1.4611872146118721E-2"/>
        </c:manualLayout>
      </c:layout>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s-CO"/>
        </a:p>
      </c:txPr>
    </c:title>
    <c:autoTitleDeleted val="0"/>
    <c:plotArea>
      <c:layout/>
      <c:barChart>
        <c:barDir val="col"/>
        <c:grouping val="clustered"/>
        <c:varyColors val="0"/>
        <c:ser>
          <c:idx val="0"/>
          <c:order val="0"/>
          <c:tx>
            <c:strRef>
              <c:f>Hoja1!$C$5</c:f>
              <c:strCache>
                <c:ptCount val="1"/>
                <c:pt idx="0">
                  <c:v>CONCURSO DE MERITOS</c:v>
                </c:pt>
              </c:strCache>
            </c:strRef>
          </c:tx>
          <c:spPr>
            <a:solidFill>
              <a:schemeClr val="accent1">
                <a:alpha val="85000"/>
              </a:schemeClr>
            </a:solidFill>
            <a:ln w="9525" cap="flat" cmpd="sng" algn="ctr">
              <a:solidFill>
                <a:schemeClr val="lt1">
                  <a:alpha val="50000"/>
                </a:schemeClr>
              </a:solidFill>
              <a:round/>
            </a:ln>
            <a:effectLst/>
          </c:spPr>
          <c:invertIfNegative val="0"/>
          <c:dLbls>
            <c:spPr>
              <a:solidFill>
                <a:schemeClr val="tx1"/>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Hoja1!$D$4:$F$4</c:f>
              <c:strCache>
                <c:ptCount val="3"/>
                <c:pt idx="0">
                  <c:v># DE CONTRATOS</c:v>
                </c:pt>
                <c:pt idx="1">
                  <c:v>CON SUPERVISIÓN</c:v>
                </c:pt>
                <c:pt idx="2">
                  <c:v>CON INTERVENTORIA</c:v>
                </c:pt>
              </c:strCache>
            </c:strRef>
          </c:cat>
          <c:val>
            <c:numRef>
              <c:f>Hoja1!$D$5:$F$5</c:f>
              <c:numCache>
                <c:formatCode>General</c:formatCode>
                <c:ptCount val="3"/>
                <c:pt idx="0">
                  <c:v>14</c:v>
                </c:pt>
                <c:pt idx="1">
                  <c:v>14</c:v>
                </c:pt>
                <c:pt idx="2">
                  <c:v>0</c:v>
                </c:pt>
              </c:numCache>
            </c:numRef>
          </c:val>
          <c:extLst>
            <c:ext xmlns:c16="http://schemas.microsoft.com/office/drawing/2014/chart" uri="{C3380CC4-5D6E-409C-BE32-E72D297353CC}">
              <c16:uniqueId val="{00000000-FFBB-4933-8721-03E10490D11D}"/>
            </c:ext>
          </c:extLst>
        </c:ser>
        <c:ser>
          <c:idx val="1"/>
          <c:order val="1"/>
          <c:tx>
            <c:strRef>
              <c:f>Hoja1!$C$6</c:f>
              <c:strCache>
                <c:ptCount val="1"/>
                <c:pt idx="0">
                  <c:v>CONTRATACIÓN DIRECTA</c:v>
                </c:pt>
              </c:strCache>
            </c:strRef>
          </c:tx>
          <c:spPr>
            <a:solidFill>
              <a:schemeClr val="accent2">
                <a:alpha val="85000"/>
              </a:schemeClr>
            </a:solidFill>
            <a:ln w="9525" cap="flat" cmpd="sng" algn="ctr">
              <a:solidFill>
                <a:schemeClr val="lt1">
                  <a:alpha val="50000"/>
                </a:schemeClr>
              </a:solidFill>
              <a:round/>
            </a:ln>
            <a:effectLst/>
          </c:spPr>
          <c:invertIfNegative val="0"/>
          <c:dLbls>
            <c:spPr>
              <a:solidFill>
                <a:schemeClr val="tx1"/>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Hoja1!$D$4:$F$4</c:f>
              <c:strCache>
                <c:ptCount val="3"/>
                <c:pt idx="0">
                  <c:v># DE CONTRATOS</c:v>
                </c:pt>
                <c:pt idx="1">
                  <c:v>CON SUPERVISIÓN</c:v>
                </c:pt>
                <c:pt idx="2">
                  <c:v>CON INTERVENTORIA</c:v>
                </c:pt>
              </c:strCache>
            </c:strRef>
          </c:cat>
          <c:val>
            <c:numRef>
              <c:f>Hoja1!$D$6:$F$6</c:f>
              <c:numCache>
                <c:formatCode>General</c:formatCode>
                <c:ptCount val="3"/>
                <c:pt idx="0">
                  <c:v>594</c:v>
                </c:pt>
                <c:pt idx="1">
                  <c:v>594</c:v>
                </c:pt>
                <c:pt idx="2">
                  <c:v>0</c:v>
                </c:pt>
              </c:numCache>
            </c:numRef>
          </c:val>
          <c:extLst>
            <c:ext xmlns:c16="http://schemas.microsoft.com/office/drawing/2014/chart" uri="{C3380CC4-5D6E-409C-BE32-E72D297353CC}">
              <c16:uniqueId val="{00000001-FFBB-4933-8721-03E10490D11D}"/>
            </c:ext>
          </c:extLst>
        </c:ser>
        <c:ser>
          <c:idx val="2"/>
          <c:order val="2"/>
          <c:tx>
            <c:strRef>
              <c:f>Hoja1!$C$7</c:f>
              <c:strCache>
                <c:ptCount val="1"/>
                <c:pt idx="0">
                  <c:v>MINIMA CUANTIA</c:v>
                </c:pt>
              </c:strCache>
            </c:strRef>
          </c:tx>
          <c:spPr>
            <a:solidFill>
              <a:schemeClr val="accent3">
                <a:alpha val="85000"/>
              </a:schemeClr>
            </a:solidFill>
            <a:ln w="9525" cap="flat" cmpd="sng" algn="ctr">
              <a:solidFill>
                <a:schemeClr val="lt1">
                  <a:alpha val="50000"/>
                </a:schemeClr>
              </a:solidFill>
              <a:round/>
            </a:ln>
            <a:effectLst/>
          </c:spPr>
          <c:invertIfNegative val="0"/>
          <c:dLbls>
            <c:spPr>
              <a:solidFill>
                <a:schemeClr val="tx1"/>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Hoja1!$D$4:$F$4</c:f>
              <c:strCache>
                <c:ptCount val="3"/>
                <c:pt idx="0">
                  <c:v># DE CONTRATOS</c:v>
                </c:pt>
                <c:pt idx="1">
                  <c:v>CON SUPERVISIÓN</c:v>
                </c:pt>
                <c:pt idx="2">
                  <c:v>CON INTERVENTORIA</c:v>
                </c:pt>
              </c:strCache>
            </c:strRef>
          </c:cat>
          <c:val>
            <c:numRef>
              <c:f>Hoja1!$D$7:$F$7</c:f>
              <c:numCache>
                <c:formatCode>General</c:formatCode>
                <c:ptCount val="3"/>
                <c:pt idx="0">
                  <c:v>20</c:v>
                </c:pt>
                <c:pt idx="1">
                  <c:v>20</c:v>
                </c:pt>
                <c:pt idx="2">
                  <c:v>0</c:v>
                </c:pt>
              </c:numCache>
            </c:numRef>
          </c:val>
          <c:extLst>
            <c:ext xmlns:c16="http://schemas.microsoft.com/office/drawing/2014/chart" uri="{C3380CC4-5D6E-409C-BE32-E72D297353CC}">
              <c16:uniqueId val="{00000002-FFBB-4933-8721-03E10490D11D}"/>
            </c:ext>
          </c:extLst>
        </c:ser>
        <c:ser>
          <c:idx val="3"/>
          <c:order val="3"/>
          <c:tx>
            <c:strRef>
              <c:f>Hoja1!$C$8</c:f>
              <c:strCache>
                <c:ptCount val="1"/>
                <c:pt idx="0">
                  <c:v>SELECCIÓN ABREVIADA</c:v>
                </c:pt>
              </c:strCache>
            </c:strRef>
          </c:tx>
          <c:spPr>
            <a:solidFill>
              <a:schemeClr val="accent4">
                <a:alpha val="85000"/>
              </a:schemeClr>
            </a:solidFill>
            <a:ln w="9525" cap="flat" cmpd="sng" algn="ctr">
              <a:solidFill>
                <a:schemeClr val="lt1">
                  <a:alpha val="50000"/>
                </a:schemeClr>
              </a:solidFill>
              <a:round/>
            </a:ln>
            <a:effectLst/>
          </c:spPr>
          <c:invertIfNegative val="0"/>
          <c:dLbls>
            <c:spPr>
              <a:solidFill>
                <a:schemeClr val="tx1"/>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Hoja1!$D$4:$F$4</c:f>
              <c:strCache>
                <c:ptCount val="3"/>
                <c:pt idx="0">
                  <c:v># DE CONTRATOS</c:v>
                </c:pt>
                <c:pt idx="1">
                  <c:v>CON SUPERVISIÓN</c:v>
                </c:pt>
                <c:pt idx="2">
                  <c:v>CON INTERVENTORIA</c:v>
                </c:pt>
              </c:strCache>
            </c:strRef>
          </c:cat>
          <c:val>
            <c:numRef>
              <c:f>Hoja1!$D$8:$F$8</c:f>
              <c:numCache>
                <c:formatCode>General</c:formatCode>
                <c:ptCount val="3"/>
                <c:pt idx="0">
                  <c:v>8</c:v>
                </c:pt>
                <c:pt idx="1">
                  <c:v>8</c:v>
                </c:pt>
                <c:pt idx="2">
                  <c:v>0</c:v>
                </c:pt>
              </c:numCache>
            </c:numRef>
          </c:val>
          <c:extLst>
            <c:ext xmlns:c16="http://schemas.microsoft.com/office/drawing/2014/chart" uri="{C3380CC4-5D6E-409C-BE32-E72D297353CC}">
              <c16:uniqueId val="{00000003-FFBB-4933-8721-03E10490D11D}"/>
            </c:ext>
          </c:extLst>
        </c:ser>
        <c:ser>
          <c:idx val="4"/>
          <c:order val="4"/>
          <c:tx>
            <c:strRef>
              <c:f>Hoja1!$C$9</c:f>
              <c:strCache>
                <c:ptCount val="1"/>
                <c:pt idx="0">
                  <c:v>LICITACIÓN PÚBLICA</c:v>
                </c:pt>
              </c:strCache>
            </c:strRef>
          </c:tx>
          <c:spPr>
            <a:solidFill>
              <a:schemeClr val="accent5">
                <a:alpha val="85000"/>
              </a:schemeClr>
            </a:solidFill>
            <a:ln w="9525" cap="flat" cmpd="sng" algn="ctr">
              <a:solidFill>
                <a:schemeClr val="lt1">
                  <a:alpha val="50000"/>
                </a:schemeClr>
              </a:solidFill>
              <a:round/>
            </a:ln>
            <a:effectLst/>
          </c:spPr>
          <c:invertIfNegative val="0"/>
          <c:dLbls>
            <c:spPr>
              <a:solidFill>
                <a:schemeClr val="tx1"/>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Hoja1!$D$4:$F$4</c:f>
              <c:strCache>
                <c:ptCount val="3"/>
                <c:pt idx="0">
                  <c:v># DE CONTRATOS</c:v>
                </c:pt>
                <c:pt idx="1">
                  <c:v>CON SUPERVISIÓN</c:v>
                </c:pt>
                <c:pt idx="2">
                  <c:v>CON INTERVENTORIA</c:v>
                </c:pt>
              </c:strCache>
            </c:strRef>
          </c:cat>
          <c:val>
            <c:numRef>
              <c:f>Hoja1!$D$9:$F$9</c:f>
              <c:numCache>
                <c:formatCode>General</c:formatCode>
                <c:ptCount val="3"/>
                <c:pt idx="0">
                  <c:v>2</c:v>
                </c:pt>
                <c:pt idx="1">
                  <c:v>2</c:v>
                </c:pt>
                <c:pt idx="2">
                  <c:v>2</c:v>
                </c:pt>
              </c:numCache>
            </c:numRef>
          </c:val>
          <c:extLst>
            <c:ext xmlns:c16="http://schemas.microsoft.com/office/drawing/2014/chart" uri="{C3380CC4-5D6E-409C-BE32-E72D297353CC}">
              <c16:uniqueId val="{00000004-FFBB-4933-8721-03E10490D11D}"/>
            </c:ext>
          </c:extLst>
        </c:ser>
        <c:ser>
          <c:idx val="5"/>
          <c:order val="5"/>
          <c:tx>
            <c:strRef>
              <c:f>Hoja1!$C$10</c:f>
              <c:strCache>
                <c:ptCount val="1"/>
                <c:pt idx="0">
                  <c:v>APP</c:v>
                </c:pt>
              </c:strCache>
            </c:strRef>
          </c:tx>
          <c:spPr>
            <a:solidFill>
              <a:schemeClr val="accent6">
                <a:alpha val="85000"/>
              </a:schemeClr>
            </a:solidFill>
            <a:ln w="9525" cap="flat" cmpd="sng" algn="ctr">
              <a:solidFill>
                <a:schemeClr val="lt1">
                  <a:alpha val="50000"/>
                </a:schemeClr>
              </a:solidFill>
              <a:round/>
            </a:ln>
            <a:effectLst/>
          </c:spPr>
          <c:invertIfNegative val="0"/>
          <c:dLbls>
            <c:spPr>
              <a:solidFill>
                <a:schemeClr val="tx1"/>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Hoja1!$D$4:$F$4</c:f>
              <c:strCache>
                <c:ptCount val="3"/>
                <c:pt idx="0">
                  <c:v># DE CONTRATOS</c:v>
                </c:pt>
                <c:pt idx="1">
                  <c:v>CON SUPERVISIÓN</c:v>
                </c:pt>
                <c:pt idx="2">
                  <c:v>CON INTERVENTORIA</c:v>
                </c:pt>
              </c:strCache>
            </c:strRef>
          </c:cat>
          <c:val>
            <c:numRef>
              <c:f>Hoja1!$D$10:$F$10</c:f>
              <c:numCache>
                <c:formatCode>General</c:formatCode>
                <c:ptCount val="3"/>
                <c:pt idx="0">
                  <c:v>4</c:v>
                </c:pt>
                <c:pt idx="1">
                  <c:v>4</c:v>
                </c:pt>
                <c:pt idx="2">
                  <c:v>4</c:v>
                </c:pt>
              </c:numCache>
            </c:numRef>
          </c:val>
          <c:extLst>
            <c:ext xmlns:c16="http://schemas.microsoft.com/office/drawing/2014/chart" uri="{C3380CC4-5D6E-409C-BE32-E72D297353CC}">
              <c16:uniqueId val="{00000005-FFBB-4933-8721-03E10490D11D}"/>
            </c:ext>
          </c:extLst>
        </c:ser>
        <c:ser>
          <c:idx val="6"/>
          <c:order val="6"/>
          <c:tx>
            <c:strRef>
              <c:f>Hoja1!$C$11</c:f>
              <c:strCache>
                <c:ptCount val="1"/>
                <c:pt idx="0">
                  <c:v>CONVENIOS INTERADMINISTRATIVOS</c:v>
                </c:pt>
              </c:strCache>
            </c:strRef>
          </c:tx>
          <c:spPr>
            <a:solidFill>
              <a:schemeClr val="accent1">
                <a:lumMod val="60000"/>
                <a:alpha val="85000"/>
              </a:schemeClr>
            </a:solidFill>
            <a:ln w="9525" cap="flat" cmpd="sng" algn="ctr">
              <a:solidFill>
                <a:schemeClr val="lt1">
                  <a:alpha val="50000"/>
                </a:schemeClr>
              </a:solidFill>
              <a:round/>
            </a:ln>
            <a:effectLst/>
          </c:spPr>
          <c:invertIfNegative val="0"/>
          <c:dLbls>
            <c:spPr>
              <a:solidFill>
                <a:schemeClr val="tx1"/>
              </a:solid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s-CO"/>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strRef>
              <c:f>Hoja1!$D$4:$F$4</c:f>
              <c:strCache>
                <c:ptCount val="3"/>
                <c:pt idx="0">
                  <c:v># DE CONTRATOS</c:v>
                </c:pt>
                <c:pt idx="1">
                  <c:v>CON SUPERVISIÓN</c:v>
                </c:pt>
                <c:pt idx="2">
                  <c:v>CON INTERVENTORIA</c:v>
                </c:pt>
              </c:strCache>
            </c:strRef>
          </c:cat>
          <c:val>
            <c:numRef>
              <c:f>Hoja1!$D$11:$F$11</c:f>
              <c:numCache>
                <c:formatCode>General</c:formatCode>
                <c:ptCount val="3"/>
                <c:pt idx="0">
                  <c:v>22</c:v>
                </c:pt>
                <c:pt idx="1">
                  <c:v>22</c:v>
                </c:pt>
                <c:pt idx="2">
                  <c:v>0</c:v>
                </c:pt>
              </c:numCache>
            </c:numRef>
          </c:val>
          <c:extLst>
            <c:ext xmlns:c16="http://schemas.microsoft.com/office/drawing/2014/chart" uri="{C3380CC4-5D6E-409C-BE32-E72D297353CC}">
              <c16:uniqueId val="{00000006-FFBB-4933-8721-03E10490D11D}"/>
            </c:ext>
          </c:extLst>
        </c:ser>
        <c:dLbls>
          <c:dLblPos val="inEnd"/>
          <c:showLegendKey val="0"/>
          <c:showVal val="1"/>
          <c:showCatName val="0"/>
          <c:showSerName val="0"/>
          <c:showPercent val="0"/>
          <c:showBubbleSize val="0"/>
        </c:dLbls>
        <c:gapWidth val="65"/>
        <c:axId val="1571315279"/>
        <c:axId val="1551259407"/>
      </c:barChart>
      <c:catAx>
        <c:axId val="1571315279"/>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s-CO"/>
          </a:p>
        </c:txPr>
        <c:crossAx val="1551259407"/>
        <c:crosses val="autoZero"/>
        <c:auto val="1"/>
        <c:lblAlgn val="ctr"/>
        <c:lblOffset val="100"/>
        <c:noMultiLvlLbl val="0"/>
      </c:catAx>
      <c:valAx>
        <c:axId val="1551259407"/>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1571315279"/>
        <c:crosses val="autoZero"/>
        <c:crossBetween val="between"/>
      </c:valAx>
      <c:spPr>
        <a:noFill/>
        <a:ln>
          <a:noFill/>
        </a:ln>
        <a:effectLst/>
      </c:spPr>
    </c:plotArea>
    <c:legend>
      <c:legendPos val="b"/>
      <c:layout>
        <c:manualLayout>
          <c:xMode val="edge"/>
          <c:yMode val="edge"/>
          <c:x val="3.9586303901154196E-2"/>
          <c:y val="0.73698457555819219"/>
          <c:w val="0.93483771621366962"/>
          <c:h val="0.24109761622262971"/>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900" b="0" i="0" u="none" strike="noStrike" kern="1200" baseline="0">
              <a:solidFill>
                <a:schemeClr val="dk1">
                  <a:lumMod val="75000"/>
                  <a:lumOff val="25000"/>
                </a:schemeClr>
              </a:solidFill>
              <a:latin typeface="+mn-lt"/>
              <a:ea typeface="+mn-ea"/>
              <a:cs typeface="+mn-cs"/>
            </a:defRPr>
          </a:pPr>
          <a:endParaRPr lang="es-CO"/>
        </a:p>
      </c:txPr>
    </c:legend>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s-CO"/>
    </a:p>
  </c:txPr>
  <c:externalData r:id="rId4">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7">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Vert">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Vert">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900"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bg1"/>
    </cs:fontRef>
    <cs:spPr>
      <a:solidFill>
        <a:schemeClr val="tx1">
          <a:lumMod val="50000"/>
          <a:lumOff val="50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1600"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spc="20" baseline="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Candara"/>
                <a:sym typeface="Candara"/>
              </a:defRPr>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Candara"/>
                <a:sym typeface="Candara"/>
              </a:defRPr>
            </a:lvl1pPr>
          </a:lstStyle>
          <a:p>
            <a:fld id="{C05DC3C3-82F0-4D9B-905B-D410E9D2B4EF}" type="datetimeFigureOut">
              <a:rPr lang="en-US" smtClean="0"/>
              <a:pPr/>
              <a:t>8/17/2017</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atin typeface="Candara"/>
                <a:sym typeface="Candara"/>
              </a:defRPr>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atin typeface="Candara"/>
                <a:sym typeface="Candara"/>
              </a:defRPr>
            </a:lvl1pPr>
          </a:lstStyle>
          <a:p>
            <a:fld id="{922BCB6B-DDD0-410F-889F-FEC5002ABB12}" type="slidenum">
              <a:rPr lang="en-US" smtClean="0"/>
              <a:pPr/>
              <a:t>‹Nº›</a:t>
            </a:fld>
            <a:endParaRPr lang="en-US" dirty="0"/>
          </a:p>
        </p:txBody>
      </p:sp>
    </p:spTree>
    <p:extLst>
      <p:ext uri="{BB962C8B-B14F-4D97-AF65-F5344CB8AC3E}">
        <p14:creationId xmlns:p14="http://schemas.microsoft.com/office/powerpoint/2010/main" val="409108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ndara"/>
        <a:ea typeface="+mn-ea"/>
        <a:cs typeface="+mn-cs"/>
        <a:sym typeface="Candara"/>
      </a:defRPr>
    </a:lvl1pPr>
    <a:lvl2pPr marL="457200" algn="l" defTabSz="914400" rtl="0" eaLnBrk="1" latinLnBrk="0" hangingPunct="1">
      <a:defRPr sz="1200" kern="1200">
        <a:solidFill>
          <a:schemeClr val="tx1"/>
        </a:solidFill>
        <a:latin typeface="Candara"/>
        <a:ea typeface="+mn-ea"/>
        <a:cs typeface="+mn-cs"/>
        <a:sym typeface="Candara"/>
      </a:defRPr>
    </a:lvl2pPr>
    <a:lvl3pPr marL="914400" algn="l" defTabSz="914400" rtl="0" eaLnBrk="1" latinLnBrk="0" hangingPunct="1">
      <a:defRPr sz="1200" kern="1200">
        <a:solidFill>
          <a:schemeClr val="tx1"/>
        </a:solidFill>
        <a:latin typeface="Candara"/>
        <a:ea typeface="+mn-ea"/>
        <a:cs typeface="+mn-cs"/>
        <a:sym typeface="Candara"/>
      </a:defRPr>
    </a:lvl3pPr>
    <a:lvl4pPr marL="1371600" algn="l" defTabSz="914400" rtl="0" eaLnBrk="1" latinLnBrk="0" hangingPunct="1">
      <a:defRPr sz="1200" kern="1200">
        <a:solidFill>
          <a:schemeClr val="tx1"/>
        </a:solidFill>
        <a:latin typeface="Candara"/>
        <a:ea typeface="+mn-ea"/>
        <a:cs typeface="+mn-cs"/>
        <a:sym typeface="Candara"/>
      </a:defRPr>
    </a:lvl4pPr>
    <a:lvl5pPr marL="1828800" algn="l" defTabSz="914400" rtl="0" eaLnBrk="1" latinLnBrk="0" hangingPunct="1">
      <a:defRPr sz="1200" kern="1200">
        <a:solidFill>
          <a:schemeClr val="tx1"/>
        </a:solidFill>
        <a:latin typeface="Candara"/>
        <a:ea typeface="+mn-ea"/>
        <a:cs typeface="+mn-cs"/>
        <a:sym typeface="Candara"/>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2BCB6B-DDD0-410F-889F-FEC5002ABB12}" type="slidenum">
              <a:rPr lang="en-US" smtClean="0"/>
              <a:t>1</a:t>
            </a:fld>
            <a:endParaRPr lang="en-US" dirty="0"/>
          </a:p>
        </p:txBody>
      </p:sp>
    </p:spTree>
    <p:extLst>
      <p:ext uri="{BB962C8B-B14F-4D97-AF65-F5344CB8AC3E}">
        <p14:creationId xmlns:p14="http://schemas.microsoft.com/office/powerpoint/2010/main" val="343463146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5.png"/><Relationship Id="rId2" Type="http://schemas.openxmlformats.org/officeDocument/2006/relationships/tags" Target="../tags/tag10.xml"/><Relationship Id="rId16" Type="http://schemas.openxmlformats.org/officeDocument/2006/relationships/image" Target="../media/image4.jpeg"/><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1.emf"/><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3.pn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2.jpeg"/><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tags" Target="../tags/tag28.xml"/><Relationship Id="rId11" Type="http://schemas.openxmlformats.org/officeDocument/2006/relationships/image" Target="../media/image1.emf"/><Relationship Id="rId5" Type="http://schemas.openxmlformats.org/officeDocument/2006/relationships/tags" Target="../tags/tag27.xml"/><Relationship Id="rId10" Type="http://schemas.openxmlformats.org/officeDocument/2006/relationships/oleObject" Target="../embeddings/oleObject4.bin"/><Relationship Id="rId4" Type="http://schemas.openxmlformats.org/officeDocument/2006/relationships/tags" Target="../tags/tag26.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image" Target="../media/image5.png"/><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tags" Target="../tags/tag37.xml"/><Relationship Id="rId11" Type="http://schemas.openxmlformats.org/officeDocument/2006/relationships/image" Target="../media/image4.jpeg"/><Relationship Id="rId5" Type="http://schemas.openxmlformats.org/officeDocument/2006/relationships/tags" Target="../tags/tag36.xml"/><Relationship Id="rId10" Type="http://schemas.openxmlformats.org/officeDocument/2006/relationships/image" Target="../media/image1.emf"/><Relationship Id="rId4" Type="http://schemas.openxmlformats.org/officeDocument/2006/relationships/tags" Target="../tags/tag35.xml"/><Relationship Id="rId9"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ortad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256438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13"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custDataLst>
              <p:tags r:id="rId3"/>
            </p:custDataLst>
          </p:nvPr>
        </p:nvSpPr>
        <p:spPr>
          <a:xfrm>
            <a:off x="1" y="-9524"/>
            <a:ext cx="9144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custDataLst>
              <p:tags r:id="rId4"/>
            </p:custDataLst>
          </p:nvPr>
        </p:nvSpPr>
        <p:spPr>
          <a:xfrm>
            <a:off x="1838325" y="3383280"/>
            <a:ext cx="7305676"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
        <p:nvSpPr>
          <p:cNvPr id="2" name="1 Título"/>
          <p:cNvSpPr>
            <a:spLocks noGrp="1"/>
          </p:cNvSpPr>
          <p:nvPr>
            <p:ph type="ctrTitle"/>
            <p:custDataLst>
              <p:tags r:id="rId5"/>
            </p:custDataLst>
          </p:nvPr>
        </p:nvSpPr>
        <p:spPr>
          <a:xfrm>
            <a:off x="2313084" y="1690686"/>
            <a:ext cx="5833110" cy="1470025"/>
          </a:xfrm>
        </p:spPr>
        <p:txBody>
          <a:bodyPr/>
          <a:lstStyle>
            <a:lvl1pPr algn="l">
              <a:defRPr sz="3600"/>
            </a:lvl1pPr>
          </a:lstStyle>
          <a:p>
            <a:r>
              <a:rPr lang="es-ES" dirty="0"/>
              <a:t>Haga clic para modificar el estilo de título del patrón</a:t>
            </a:r>
            <a:endParaRPr lang="es-CO" dirty="0"/>
          </a:p>
        </p:txBody>
      </p:sp>
      <p:sp>
        <p:nvSpPr>
          <p:cNvPr id="3" name="2 Subtítulo"/>
          <p:cNvSpPr>
            <a:spLocks noGrp="1"/>
          </p:cNvSpPr>
          <p:nvPr>
            <p:ph type="subTitle" idx="1"/>
            <p:custDataLst>
              <p:tags r:id="rId6"/>
            </p:custDataLst>
          </p:nvPr>
        </p:nvSpPr>
        <p:spPr>
          <a:xfrm>
            <a:off x="2313084" y="3467100"/>
            <a:ext cx="585216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dirty="0"/>
              <a:t>Haga clic para modificar el estilo de subtítulo del patrón</a:t>
            </a:r>
            <a:endParaRPr lang="es-CO" dirty="0"/>
          </a:p>
        </p:txBody>
      </p:sp>
      <p:sp>
        <p:nvSpPr>
          <p:cNvPr id="20" name="Text Placeholder 19"/>
          <p:cNvSpPr>
            <a:spLocks noGrp="1"/>
          </p:cNvSpPr>
          <p:nvPr>
            <p:ph type="body" sz="quarter" idx="10" hasCustomPrompt="1"/>
            <p:custDataLst>
              <p:tags r:id="rId7"/>
            </p:custDataLst>
          </p:nvPr>
        </p:nvSpPr>
        <p:spPr>
          <a:xfrm>
            <a:off x="2313084" y="4248150"/>
            <a:ext cx="3219450" cy="361950"/>
          </a:xfrm>
        </p:spPr>
        <p:txBody>
          <a:bodyPr lIns="0" tIns="0" rIns="0" bIns="0" anchor="ctr"/>
          <a:lstStyle>
            <a:lvl1pPr marL="0" indent="0" algn="l">
              <a:buNone/>
              <a:defRPr sz="1400" b="0">
                <a:solidFill>
                  <a:schemeClr val="accent3"/>
                </a:solidFill>
              </a:defRPr>
            </a:lvl1pPr>
            <a:lvl5pPr>
              <a:defRPr/>
            </a:lvl5pPr>
          </a:lstStyle>
          <a:p>
            <a:pPr lvl="0"/>
            <a:r>
              <a:rPr lang="en-US" dirty="0"/>
              <a:t>Date</a:t>
            </a:r>
          </a:p>
        </p:txBody>
      </p:sp>
      <p:sp>
        <p:nvSpPr>
          <p:cNvPr id="6" name="Pentagon 5"/>
          <p:cNvSpPr/>
          <p:nvPr userDrawn="1">
            <p:custDataLst>
              <p:tags r:id="rId8"/>
            </p:custDataLst>
          </p:nvPr>
        </p:nvSpPr>
        <p:spPr>
          <a:xfrm>
            <a:off x="0" y="0"/>
            <a:ext cx="1989056"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p:cNvGrpSpPr/>
          <p:nvPr userDrawn="1">
            <p:custDataLst>
              <p:tags r:id="rId9"/>
            </p:custDataLst>
          </p:nvPr>
        </p:nvGrpSpPr>
        <p:grpSpPr>
          <a:xfrm>
            <a:off x="-1057274" y="-484331"/>
            <a:ext cx="3046330"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grpSp>
      <p:sp>
        <p:nvSpPr>
          <p:cNvPr id="16" name="Rectangle 15"/>
          <p:cNvSpPr/>
          <p:nvPr userDrawn="1">
            <p:custDataLst>
              <p:tags r:id="rId10"/>
            </p:custDataLst>
          </p:nvPr>
        </p:nvSpPr>
        <p:spPr>
          <a:xfrm>
            <a:off x="1" y="4619624"/>
            <a:ext cx="9144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print">
            <a:clrChange>
              <a:clrFrom>
                <a:srgbClr val="FFFFFE"/>
              </a:clrFrom>
              <a:clrTo>
                <a:srgbClr val="FFFFFE">
                  <a:alpha val="0"/>
                </a:srgbClr>
              </a:clrTo>
            </a:clrChange>
            <a:extLst>
              <a:ext uri="{28A0092B-C50C-407E-A947-70E740481C1C}">
                <a14:useLocalDpi xmlns:a14="http://schemas.microsoft.com/office/drawing/2010/main" val="0"/>
              </a:ext>
            </a:extLst>
          </a:blip>
          <a:srcRect l="16910" t="12070" r="20026" b="11812"/>
          <a:stretch/>
        </p:blipFill>
        <p:spPr bwMode="auto">
          <a:xfrm>
            <a:off x="5498248" y="5557688"/>
            <a:ext cx="1122645"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6887593" y="5666307"/>
            <a:ext cx="1733700"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0" y="4617720"/>
            <a:ext cx="9144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281467571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82541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9"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240588189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ido, 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33094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4"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custDataLst>
              <p:tags r:id="rId3"/>
            </p:custDataLst>
          </p:nvPr>
        </p:nvSpPr>
        <p:spPr>
          <a:xfrm>
            <a:off x="477678" y="0"/>
            <a:ext cx="8666321"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hasCustomPrompt="1"/>
            <p:custDataLst>
              <p:tags r:id="rId4"/>
            </p:custDataLst>
          </p:nvPr>
        </p:nvSpPr>
        <p:spPr>
          <a:xfrm>
            <a:off x="819150" y="433512"/>
            <a:ext cx="7738274" cy="748669"/>
          </a:xfrm>
        </p:spPr>
        <p:txBody>
          <a:bodyPr/>
          <a:lstStyle>
            <a:lvl1pPr>
              <a:defRPr sz="2400" b="1">
                <a:solidFill>
                  <a:schemeClr val="tx1"/>
                </a:solidFill>
              </a:defRPr>
            </a:lvl1pPr>
          </a:lstStyle>
          <a:p>
            <a:r>
              <a:rPr lang="en-US" dirty="0"/>
              <a:t>Click to edit master title style</a:t>
            </a:r>
          </a:p>
        </p:txBody>
      </p:sp>
      <p:grpSp>
        <p:nvGrpSpPr>
          <p:cNvPr id="22" name="Group 21"/>
          <p:cNvGrpSpPr/>
          <p:nvPr userDrawn="1">
            <p:custDataLst>
              <p:tags r:id="rId5"/>
            </p:custDataLst>
          </p:nvPr>
        </p:nvGrpSpPr>
        <p:grpSpPr>
          <a:xfrm>
            <a:off x="-352425" y="-398782"/>
            <a:ext cx="983076"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grpSp>
      <p:sp>
        <p:nvSpPr>
          <p:cNvPr id="14" name="Rectangle 13"/>
          <p:cNvSpPr/>
          <p:nvPr userDrawn="1">
            <p:custDataLst>
              <p:tags r:id="rId6"/>
            </p:custDataLst>
          </p:nvPr>
        </p:nvSpPr>
        <p:spPr>
          <a:xfrm rot="10800000" flipH="1" flipV="1">
            <a:off x="-1" y="6724298"/>
            <a:ext cx="7038975"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grpSp>
        <p:nvGrpSpPr>
          <p:cNvPr id="15" name="Group 14"/>
          <p:cNvGrpSpPr/>
          <p:nvPr userDrawn="1"/>
        </p:nvGrpSpPr>
        <p:grpSpPr>
          <a:xfrm>
            <a:off x="6693696" y="6197601"/>
            <a:ext cx="1863728" cy="667386"/>
            <a:chOff x="6855280" y="6288821"/>
            <a:chExt cx="1703774" cy="576165"/>
          </a:xfrm>
        </p:grpSpPr>
        <p:pic>
          <p:nvPicPr>
            <p:cNvPr id="16" name="E719C35A-4CD6-4178-B0D0-8DA208F1799A" descr="E719C35A-4CD6-4178-B0D0-8DA208F1799A"/>
            <p:cNvPicPr>
              <a:picLocks noChangeAspect="1" noChangeArrowheads="1"/>
            </p:cNvPicPr>
            <p:nvPr>
              <p:custDataLst>
                <p:tags r:id="rId7"/>
              </p:custDataLst>
            </p:nvPr>
          </p:nvPicPr>
          <p:blipFill rotWithShape="1">
            <a:blip r:embed="rId12" cstate="print">
              <a:clrChange>
                <a:clrFrom>
                  <a:srgbClr val="FFFFFE"/>
                </a:clrFrom>
                <a:clrTo>
                  <a:srgbClr val="FFFFFE">
                    <a:alpha val="0"/>
                  </a:srgbClr>
                </a:clrTo>
              </a:clrChange>
              <a:extLst>
                <a:ext uri="{28A0092B-C50C-407E-A947-70E740481C1C}">
                  <a14:useLocalDpi xmlns:a14="http://schemas.microsoft.com/office/drawing/2010/main" val="0"/>
                </a:ext>
              </a:extLst>
            </a:blip>
            <a:srcRect l="16910" t="12070" r="20026" b="11812"/>
            <a:stretch/>
          </p:blipFill>
          <p:spPr bwMode="auto">
            <a:xfrm>
              <a:off x="6855280" y="6288821"/>
              <a:ext cx="618324" cy="576165"/>
            </a:xfrm>
            <a:prstGeom prst="rect">
              <a:avLst/>
            </a:prstGeom>
            <a:noFill/>
            <a:ln w="9525">
              <a:noFill/>
              <a:miter lim="800000"/>
              <a:headEnd/>
              <a:tailEnd/>
            </a:ln>
          </p:spPr>
        </p:pic>
        <p:pic>
          <p:nvPicPr>
            <p:cNvPr id="17" name="Picture 7" descr="http://www.mininterior.gov.co/sites/default/files/galeria-imagenes/2014-logo_web_eslogan.png"/>
            <p:cNvPicPr>
              <a:picLocks noChangeAspect="1" noChangeArrowheads="1"/>
            </p:cNvPicPr>
            <p:nvPr userDrawn="1">
              <p:custDataLst>
                <p:tags r:id="rId8"/>
              </p:custDataLst>
            </p:nvPr>
          </p:nvPicPr>
          <p:blipFill>
            <a:blip r:embed="rId13" cstate="screen">
              <a:extLst>
                <a:ext uri="{28A0092B-C50C-407E-A947-70E740481C1C}">
                  <a14:useLocalDpi xmlns:a14="http://schemas.microsoft.com/office/drawing/2010/main" val="0"/>
                </a:ext>
              </a:extLst>
            </a:blip>
            <a:srcRect/>
            <a:stretch>
              <a:fillRect/>
            </a:stretch>
          </p:blipFill>
          <p:spPr bwMode="auto">
            <a:xfrm>
              <a:off x="7585909" y="6363329"/>
              <a:ext cx="973145" cy="465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8089624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2047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5 Marcador de número de diapositiva"/>
          <p:cNvSpPr>
            <a:spLocks noGrp="1"/>
          </p:cNvSpPr>
          <p:nvPr>
            <p:ph type="sldNum" sz="quarter" idx="12"/>
            <p:custDataLst>
              <p:tags r:id="rId3"/>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Tree>
    <p:extLst>
      <p:ext uri="{BB962C8B-B14F-4D97-AF65-F5344CB8AC3E}">
        <p14:creationId xmlns:p14="http://schemas.microsoft.com/office/powerpoint/2010/main" val="1812996366"/>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cion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7227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90"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0" y="0"/>
            <a:ext cx="210661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1 Título"/>
          <p:cNvSpPr>
            <a:spLocks noGrp="1"/>
          </p:cNvSpPr>
          <p:nvPr>
            <p:ph type="title" hasCustomPrompt="1"/>
            <p:custDataLst>
              <p:tags r:id="rId4"/>
            </p:custDataLst>
          </p:nvPr>
        </p:nvSpPr>
        <p:spPr>
          <a:xfrm>
            <a:off x="2374900" y="3683000"/>
            <a:ext cx="5956300" cy="1016000"/>
          </a:xfrm>
        </p:spPr>
        <p:txBody>
          <a:bodyPr anchor="t"/>
          <a:lstStyle>
            <a:lvl1pPr algn="l">
              <a:defRPr sz="3200" b="1" cap="none" baseline="0">
                <a:solidFill>
                  <a:schemeClr val="tx2">
                    <a:lumMod val="75000"/>
                  </a:schemeClr>
                </a:solidFill>
              </a:defRPr>
            </a:lvl1pPr>
          </a:lstStyle>
          <a:p>
            <a:r>
              <a:rPr lang="es-ES" dirty="0"/>
              <a:t>Haga clic para modificar el estilo de título del patrón</a:t>
            </a:r>
            <a:endParaRPr lang="es-CO" dirty="0"/>
          </a:p>
        </p:txBody>
      </p:sp>
      <p:pic>
        <p:nvPicPr>
          <p:cNvPr id="11" name="E719C35A-4CD6-4178-B0D0-8DA208F1799A" descr="E719C35A-4CD6-4178-B0D0-8DA208F1799A"/>
          <p:cNvPicPr>
            <a:picLocks noChangeAspect="1" noChangeArrowheads="1"/>
          </p:cNvPicPr>
          <p:nvPr userDrawn="1">
            <p:custDataLst>
              <p:tags r:id="rId5"/>
            </p:custDataLst>
          </p:nvPr>
        </p:nvPicPr>
        <p:blipFill rotWithShape="1">
          <a:blip r:embed="rId11" cstate="print">
            <a:clrChange>
              <a:clrFrom>
                <a:srgbClr val="FFFFFE"/>
              </a:clrFrom>
              <a:clrTo>
                <a:srgbClr val="FFFFFE">
                  <a:alpha val="0"/>
                </a:srgbClr>
              </a:clrTo>
            </a:clrChange>
            <a:extLst>
              <a:ext uri="{28A0092B-C50C-407E-A947-70E740481C1C}">
                <a14:useLocalDpi xmlns:a14="http://schemas.microsoft.com/office/drawing/2010/main" val="0"/>
              </a:ext>
            </a:extLst>
          </a:blip>
          <a:srcRect l="16910" t="12070" r="20026" b="11812"/>
          <a:stretch/>
        </p:blipFill>
        <p:spPr bwMode="auto">
          <a:xfrm>
            <a:off x="5358548" y="5811900"/>
            <a:ext cx="1122645"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747893" y="5920519"/>
            <a:ext cx="1733700" cy="828862"/>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userDrawn="1">
            <p:custDataLst>
              <p:tags r:id="rId7"/>
            </p:custDataLst>
          </p:nvPr>
        </p:nvGrpSpPr>
        <p:grpSpPr>
          <a:xfrm>
            <a:off x="391016" y="4632333"/>
            <a:ext cx="1368413" cy="2225667"/>
            <a:chOff x="-1250950" y="-268289"/>
            <a:chExt cx="3263900" cy="5308600"/>
          </a:xfrm>
          <a:solidFill>
            <a:schemeClr val="accent5">
              <a:lumMod val="60000"/>
              <a:lumOff val="40000"/>
              <a:alpha val="50000"/>
            </a:schemeClr>
          </a:solidFill>
        </p:grpSpPr>
        <p:sp>
          <p:nvSpPr>
            <p:cNvPr id="1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sp>
          <p:nvSpPr>
            <p:cNvPr id="1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grpSp>
    </p:spTree>
    <p:extLst>
      <p:ext uri="{BB962C8B-B14F-4D97-AF65-F5344CB8AC3E}">
        <p14:creationId xmlns:p14="http://schemas.microsoft.com/office/powerpoint/2010/main" val="416995985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ext uri="{D42A27DB-BD31-4B8C-83A1-F6EECF244321}">
                <p14:modId xmlns:p14="http://schemas.microsoft.com/office/powerpoint/2010/main" val="3226153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8"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7" name="2 Marcador de texto"/>
          <p:cNvSpPr>
            <a:spLocks noGrp="1"/>
          </p:cNvSpPr>
          <p:nvPr>
            <p:ph type="body" idx="1"/>
            <p:custDataLst>
              <p:tags r:id="rId9"/>
            </p:custDataLst>
          </p:nvPr>
        </p:nvSpPr>
        <p:spPr bwMode="auto">
          <a:xfrm>
            <a:off x="286246" y="1250344"/>
            <a:ext cx="8579458" cy="4969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 dirty="0"/>
              <a:t>Haga clic para modificar el estilo de texto del patrón</a:t>
            </a:r>
          </a:p>
          <a:p>
            <a:pPr lvl="1"/>
            <a:r>
              <a:rPr lang="es-ES" dirty="0"/>
              <a:t>Segundo nivel</a:t>
            </a:r>
          </a:p>
          <a:p>
            <a:pPr lvl="2"/>
            <a:r>
              <a:rPr lang="es-ES" dirty="0"/>
              <a:t>Tercer nivel</a:t>
            </a:r>
          </a:p>
          <a:p>
            <a:pPr lvl="3"/>
            <a:r>
              <a:rPr lang="es-ES" dirty="0"/>
              <a:t>Cuarto nivel</a:t>
            </a:r>
          </a:p>
          <a:p>
            <a:pPr lvl="4"/>
            <a:r>
              <a:rPr lang="es-ES" dirty="0"/>
              <a:t>Quinto nivel</a:t>
            </a:r>
            <a:endParaRPr lang="es-CO" dirty="0"/>
          </a:p>
        </p:txBody>
      </p:sp>
      <p:sp>
        <p:nvSpPr>
          <p:cNvPr id="6" name="5 Marcador de número de diapositiva"/>
          <p:cNvSpPr>
            <a:spLocks noGrp="1"/>
          </p:cNvSpPr>
          <p:nvPr>
            <p:ph type="sldNum" sz="quarter" idx="4"/>
            <p:custDataLst>
              <p:tags r:id="rId10"/>
            </p:custDataLst>
          </p:nvPr>
        </p:nvSpPr>
        <p:spPr>
          <a:xfrm>
            <a:off x="8674100" y="6451341"/>
            <a:ext cx="432598" cy="365125"/>
          </a:xfrm>
          <a:prstGeom prst="rect">
            <a:avLst/>
          </a:prstGeom>
        </p:spPr>
        <p:txBody>
          <a:bodyPr vert="horz" lIns="91440" tIns="45720" rIns="91440" bIns="45720" rtlCol="0" anchor="ctr"/>
          <a:lstStyle>
            <a:lvl1pPr algn="ctr" fontAlgn="auto">
              <a:spcBef>
                <a:spcPts val="0"/>
              </a:spcBef>
              <a:spcAft>
                <a:spcPts val="0"/>
              </a:spcAft>
              <a:defRPr sz="1100" smtClean="0">
                <a:solidFill>
                  <a:schemeClr val="tx1">
                    <a:tint val="75000"/>
                  </a:schemeClr>
                </a:solidFill>
                <a:latin typeface="+mj-lt"/>
                <a:cs typeface="+mn-cs"/>
                <a:sym typeface="Candara"/>
              </a:defRPr>
            </a:lvl1pPr>
          </a:lstStyle>
          <a:p>
            <a:pPr>
              <a:defRPr/>
            </a:pPr>
            <a:fld id="{CC308BA6-CE2B-4543-82B0-7E6DCE132E0F}" type="slidenum">
              <a:rPr lang="es-CO" smtClean="0">
                <a:solidFill>
                  <a:srgbClr val="244061">
                    <a:tint val="75000"/>
                  </a:srgbClr>
                </a:solidFill>
              </a:rPr>
              <a:pPr>
                <a:defRPr/>
              </a:pPr>
              <a:t>‹Nº›</a:t>
            </a:fld>
            <a:endParaRPr lang="es-CO" dirty="0">
              <a:solidFill>
                <a:srgbClr val="244061">
                  <a:tint val="75000"/>
                </a:srgbClr>
              </a:solidFill>
            </a:endParaRPr>
          </a:p>
        </p:txBody>
      </p:sp>
      <p:grpSp>
        <p:nvGrpSpPr>
          <p:cNvPr id="2" name="Group 1"/>
          <p:cNvGrpSpPr/>
          <p:nvPr userDrawn="1"/>
        </p:nvGrpSpPr>
        <p:grpSpPr>
          <a:xfrm>
            <a:off x="6693696" y="6197601"/>
            <a:ext cx="1863728" cy="667386"/>
            <a:chOff x="6855280" y="6288821"/>
            <a:chExt cx="1703774" cy="576165"/>
          </a:xfrm>
        </p:grpSpPr>
        <p:pic>
          <p:nvPicPr>
            <p:cNvPr id="1031" name="E719C35A-4CD6-4178-B0D0-8DA208F1799A" descr="E719C35A-4CD6-4178-B0D0-8DA208F1799A"/>
            <p:cNvPicPr>
              <a:picLocks noChangeAspect="1" noChangeArrowheads="1"/>
            </p:cNvPicPr>
            <p:nvPr>
              <p:custDataLst>
                <p:tags r:id="rId14"/>
              </p:custDataLst>
            </p:nvPr>
          </p:nvPicPr>
          <p:blipFill rotWithShape="1">
            <a:blip r:embed="rId18" cstate="print">
              <a:clrChange>
                <a:clrFrom>
                  <a:srgbClr val="FFFFFE"/>
                </a:clrFrom>
                <a:clrTo>
                  <a:srgbClr val="FFFFFE">
                    <a:alpha val="0"/>
                  </a:srgbClr>
                </a:clrTo>
              </a:clrChange>
              <a:extLst>
                <a:ext uri="{28A0092B-C50C-407E-A947-70E740481C1C}">
                  <a14:useLocalDpi xmlns:a14="http://schemas.microsoft.com/office/drawing/2010/main" val="0"/>
                </a:ext>
              </a:extLst>
            </a:blip>
            <a:srcRect l="16910" t="12070" r="20026" b="11812"/>
            <a:stretch/>
          </p:blipFill>
          <p:spPr bwMode="auto">
            <a:xfrm>
              <a:off x="6855280" y="6288821"/>
              <a:ext cx="618324" cy="576165"/>
            </a:xfrm>
            <a:prstGeom prst="rect">
              <a:avLst/>
            </a:prstGeom>
            <a:noFill/>
            <a:ln w="9525">
              <a:noFill/>
              <a:miter lim="800000"/>
              <a:headEnd/>
              <a:tailEnd/>
            </a:ln>
          </p:spPr>
        </p:pic>
        <p:pic>
          <p:nvPicPr>
            <p:cNvPr id="10" name="Picture 7" descr="http://www.mininterior.gov.co/sites/default/files/galeria-imagenes/2014-logo_web_eslogan.png"/>
            <p:cNvPicPr>
              <a:picLocks noChangeAspect="1" noChangeArrowheads="1"/>
            </p:cNvPicPr>
            <p:nvPr userDrawn="1">
              <p:custDataLst>
                <p:tags r:id="rId15"/>
              </p:custDataLst>
            </p:nvPr>
          </p:nvPicPr>
          <p:blipFill>
            <a:blip r:embed="rId19" cstate="screen">
              <a:extLst>
                <a:ext uri="{28A0092B-C50C-407E-A947-70E740481C1C}">
                  <a14:useLocalDpi xmlns:a14="http://schemas.microsoft.com/office/drawing/2010/main" val="0"/>
                </a:ext>
              </a:extLst>
            </a:blip>
            <a:srcRect/>
            <a:stretch>
              <a:fillRect/>
            </a:stretch>
          </p:blipFill>
          <p:spPr bwMode="auto">
            <a:xfrm>
              <a:off x="7585909" y="6363329"/>
              <a:ext cx="973145" cy="465248"/>
            </a:xfrm>
            <a:prstGeom prst="rect">
              <a:avLst/>
            </a:prstGeom>
            <a:noFill/>
            <a:extLst>
              <a:ext uri="{909E8E84-426E-40DD-AFC4-6F175D3DCCD1}">
                <a14:hiddenFill xmlns:a14="http://schemas.microsoft.com/office/drawing/2010/main">
                  <a:solidFill>
                    <a:srgbClr val="FFFFFF"/>
                  </a:solidFill>
                </a14:hiddenFill>
              </a:ext>
            </a:extLst>
          </p:spPr>
        </p:pic>
      </p:grpSp>
      <p:sp>
        <p:nvSpPr>
          <p:cNvPr id="1026" name="1 Marcador de título"/>
          <p:cNvSpPr>
            <a:spLocks noGrp="1"/>
          </p:cNvSpPr>
          <p:nvPr>
            <p:ph type="title"/>
            <p:custDataLst>
              <p:tags r:id="rId11"/>
            </p:custDataLst>
          </p:nvPr>
        </p:nvSpPr>
        <p:spPr bwMode="auto">
          <a:xfrm>
            <a:off x="286246" y="262340"/>
            <a:ext cx="8595361" cy="74866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 dirty="0"/>
              <a:t>Haga clic para modificar el estilo de título del patrón</a:t>
            </a:r>
            <a:endParaRPr lang="es-CO" dirty="0"/>
          </a:p>
        </p:txBody>
      </p:sp>
      <p:sp>
        <p:nvSpPr>
          <p:cNvPr id="19" name="Rectangle 18"/>
          <p:cNvSpPr/>
          <p:nvPr userDrawn="1">
            <p:custDataLst>
              <p:tags r:id="rId12"/>
            </p:custDataLst>
          </p:nvPr>
        </p:nvSpPr>
        <p:spPr>
          <a:xfrm rot="10800000" flipH="1" flipV="1">
            <a:off x="285252" y="1059059"/>
            <a:ext cx="8589667" cy="45721"/>
          </a:xfrm>
          <a:prstGeom prst="rect">
            <a:avLst/>
          </a:prstGeom>
          <a:gradFill flip="none" rotWithShape="1">
            <a:gsLst>
              <a:gs pos="0">
                <a:schemeClr val="bg2">
                  <a:lumMod val="90000"/>
                  <a:alpha val="5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
        <p:nvSpPr>
          <p:cNvPr id="12" name="Rectangle 11"/>
          <p:cNvSpPr/>
          <p:nvPr userDrawn="1">
            <p:custDataLst>
              <p:tags r:id="rId13"/>
            </p:custDataLst>
          </p:nvPr>
        </p:nvSpPr>
        <p:spPr>
          <a:xfrm rot="10800000" flipH="1" flipV="1">
            <a:off x="0" y="6716678"/>
            <a:ext cx="6577014"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781156812"/>
      </p:ext>
    </p:extLst>
  </p:cSld>
  <p:clrMap bg1="lt1" tx1="dk1" bg2="lt2" tx2="dk2" accent1="accent1" accent2="accent2" accent3="accent3" accent4="accent4" accent5="accent5" accent6="accent6" hlink="hlink" folHlink="folHlink"/>
  <p:sldLayoutIdLst>
    <p:sldLayoutId id="2147483661" r:id="rId1"/>
    <p:sldLayoutId id="2147483666" r:id="rId2"/>
    <p:sldLayoutId id="2147483673" r:id="rId3"/>
    <p:sldLayoutId id="2147483667" r:id="rId4"/>
    <p:sldLayoutId id="2147483674" r:id="rId5"/>
  </p:sldLayoutIdLst>
  <mc:AlternateContent xmlns:mc="http://schemas.openxmlformats.org/markup-compatibility/2006" xmlns:p14="http://schemas.microsoft.com/office/powerpoint/2010/main">
    <mc:Choice Requires="p14">
      <p:transition p14:dur="250" advClick="0"/>
    </mc:Choice>
    <mc:Fallback xmlns="">
      <p:transition advClick="0"/>
    </mc:Fallback>
  </mc:AlternateContent>
  <p:hf hdr="0" ftr="0" dt="0"/>
  <p:txStyles>
    <p:title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77800" indent="-177800" algn="just" rtl="0" eaLnBrk="1" fontAlgn="base" hangingPunct="1">
        <a:spcBef>
          <a:spcPct val="20000"/>
        </a:spcBef>
        <a:spcAft>
          <a:spcPct val="0"/>
        </a:spcAft>
        <a:buClr>
          <a:schemeClr val="accent3"/>
        </a:buClr>
        <a:buFont typeface="Arial" charset="0"/>
        <a:buChar char="•"/>
        <a:defRPr sz="1600" b="0" kern="1200">
          <a:solidFill>
            <a:schemeClr val="tx1"/>
          </a:solidFill>
          <a:latin typeface="+mj-lt"/>
          <a:ea typeface="+mn-ea"/>
          <a:cs typeface="+mn-cs"/>
        </a:defRPr>
      </a:lvl1pPr>
      <a:lvl2pPr marL="342900" indent="-168275" algn="just" rtl="0" eaLnBrk="1" fontAlgn="base" hangingPunct="1">
        <a:spcBef>
          <a:spcPct val="20000"/>
        </a:spcBef>
        <a:spcAft>
          <a:spcPct val="0"/>
        </a:spcAft>
        <a:buClr>
          <a:schemeClr val="accent3"/>
        </a:buClr>
        <a:buFont typeface="Arial" charset="0"/>
        <a:buChar char="–"/>
        <a:defRPr sz="1600" kern="1200">
          <a:solidFill>
            <a:schemeClr val="tx1"/>
          </a:solidFill>
          <a:latin typeface="+mj-lt"/>
          <a:ea typeface="+mn-ea"/>
          <a:cs typeface="+mn-cs"/>
        </a:defRPr>
      </a:lvl2pPr>
      <a:lvl3pPr marL="517525" indent="-174625" algn="just" rtl="0" eaLnBrk="1" fontAlgn="base" hangingPunct="1">
        <a:spcBef>
          <a:spcPct val="20000"/>
        </a:spcBef>
        <a:spcAft>
          <a:spcPct val="0"/>
        </a:spcAft>
        <a:buClr>
          <a:schemeClr val="accent3"/>
        </a:buClr>
        <a:buSzPct val="80000"/>
        <a:buFont typeface="Arial" charset="0"/>
        <a:buChar char="•"/>
        <a:defRPr sz="1600" kern="1200">
          <a:solidFill>
            <a:schemeClr val="tx1"/>
          </a:solidFill>
          <a:latin typeface="+mj-lt"/>
          <a:ea typeface="+mn-ea"/>
          <a:cs typeface="+mn-cs"/>
        </a:defRPr>
      </a:lvl3pPr>
      <a:lvl4pPr marL="685800" indent="-168275" algn="just" rtl="0" eaLnBrk="1" fontAlgn="base" hangingPunct="1">
        <a:spcBef>
          <a:spcPct val="20000"/>
        </a:spcBef>
        <a:spcAft>
          <a:spcPct val="0"/>
        </a:spcAft>
        <a:buClr>
          <a:schemeClr val="accent3"/>
        </a:buClr>
        <a:buFont typeface="Arial" charset="0"/>
        <a:buChar char="–"/>
        <a:tabLst/>
        <a:defRPr sz="1600" kern="1200">
          <a:solidFill>
            <a:schemeClr val="tx1"/>
          </a:solidFill>
          <a:latin typeface="+mj-lt"/>
          <a:ea typeface="+mn-ea"/>
          <a:cs typeface="+mn-cs"/>
        </a:defRPr>
      </a:lvl4pPr>
      <a:lvl5pPr marL="860425" indent="-174625" algn="just" rtl="0" eaLnBrk="1" fontAlgn="base" hangingPunct="1">
        <a:spcBef>
          <a:spcPct val="20000"/>
        </a:spcBef>
        <a:spcAft>
          <a:spcPct val="0"/>
        </a:spcAft>
        <a:buClr>
          <a:schemeClr val="accent3"/>
        </a:buClr>
        <a:buFont typeface="Arial" charset="0"/>
        <a:buChar char="»"/>
        <a:defRPr sz="16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hyperlink" Target="https://www.contratos.gov.co/consultas/inicioConsulta.do" TargetMode="Externa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Object 127" hidden="1"/>
          <p:cNvGraphicFramePr>
            <a:graphicFrameLocks noChangeAspect="1"/>
          </p:cNvGraphicFramePr>
          <p:nvPr>
            <p:custDataLst>
              <p:tags r:id="rId2"/>
            </p:custDataLst>
            <p:extLst>
              <p:ext uri="{D42A27DB-BD31-4B8C-83A1-F6EECF244321}">
                <p14:modId xmlns:p14="http://schemas.microsoft.com/office/powerpoint/2010/main" val="316928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Title 38"/>
          <p:cNvSpPr>
            <a:spLocks noGrp="1"/>
          </p:cNvSpPr>
          <p:nvPr>
            <p:ph type="ctrTitle"/>
          </p:nvPr>
        </p:nvSpPr>
        <p:spPr>
          <a:xfrm>
            <a:off x="2313084" y="1173018"/>
            <a:ext cx="5833110" cy="1987693"/>
          </a:xfrm>
        </p:spPr>
        <p:txBody>
          <a:bodyPr/>
          <a:lstStyle/>
          <a:p>
            <a:r>
              <a:rPr lang="en-US" dirty="0">
                <a:solidFill>
                  <a:schemeClr val="tx2"/>
                </a:solidFill>
              </a:rPr>
              <a:t>ESTADÍSTICAS GESTIÓN DE LA CONTRATACIÓN PÚBLICA DE LA ANI.</a:t>
            </a:r>
          </a:p>
        </p:txBody>
      </p:sp>
      <p:sp>
        <p:nvSpPr>
          <p:cNvPr id="132" name="Text Placeholder 131"/>
          <p:cNvSpPr>
            <a:spLocks noGrp="1"/>
          </p:cNvSpPr>
          <p:nvPr>
            <p:ph type="body" sz="quarter" idx="10"/>
            <p:custDataLst>
              <p:tags r:id="rId3"/>
            </p:custDataLst>
          </p:nvPr>
        </p:nvSpPr>
        <p:spPr>
          <a:xfrm>
            <a:off x="2313084" y="4248150"/>
            <a:ext cx="3219450" cy="361950"/>
          </a:xfrm>
        </p:spPr>
        <p:txBody>
          <a:bodyPr/>
          <a:lstStyle/>
          <a:p>
            <a:r>
              <a:rPr lang="es-ES" dirty="0"/>
              <a:t>Diciembre 31 de  2016</a:t>
            </a:r>
            <a:endParaRPr lang="en-US" dirty="0"/>
          </a:p>
        </p:txBody>
      </p:sp>
    </p:spTree>
    <p:extLst>
      <p:ext uri="{BB962C8B-B14F-4D97-AF65-F5344CB8AC3E}">
        <p14:creationId xmlns:p14="http://schemas.microsoft.com/office/powerpoint/2010/main" val="398285047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402609" y="2473036"/>
            <a:ext cx="5956300" cy="1016000"/>
          </a:xfrm>
        </p:spPr>
        <p:txBody>
          <a:bodyPr/>
          <a:lstStyle/>
          <a:p>
            <a:pPr algn="just"/>
            <a:r>
              <a:rPr lang="es-CO" dirty="0"/>
              <a:t>3.	Tiempo de duración de los procesos de selección</a:t>
            </a:r>
            <a:br>
              <a:rPr lang="es-MX" dirty="0"/>
            </a:br>
            <a:br>
              <a:rPr lang="es-MX" dirty="0"/>
            </a:br>
            <a:r>
              <a:rPr lang="es-CO" sz="1200" dirty="0"/>
              <a:t>Para el período comprendido el promedio del número de días entre la apertura del proceso y la adjudicación fue acorde con cada modalidad, esto es el término de duración total para cada modalidad de selección.  Se destacan los procesos de alto impacto para la Entidad (</a:t>
            </a:r>
            <a:r>
              <a:rPr lang="es-CO" sz="1200" dirty="0" err="1"/>
              <a:t>APP´s</a:t>
            </a:r>
            <a:r>
              <a:rPr lang="es-CO" sz="1200" dirty="0"/>
              <a:t> y muy por debajo se encuentran los procesos de Concurso de Méritos y Subasta inversa).  Los procesos de Selección Abreviada tienen en promedio el mismo tiempo de los procesos de Licitación Pública. </a:t>
            </a:r>
            <a:endParaRPr lang="es-MX" sz="1200" dirty="0"/>
          </a:p>
        </p:txBody>
      </p:sp>
    </p:spTree>
    <p:extLst>
      <p:ext uri="{BB962C8B-B14F-4D97-AF65-F5344CB8AC3E}">
        <p14:creationId xmlns:p14="http://schemas.microsoft.com/office/powerpoint/2010/main" val="861361798"/>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1</a:t>
            </a:fld>
            <a:endParaRPr lang="es-CO" dirty="0">
              <a:solidFill>
                <a:srgbClr val="244061">
                  <a:tint val="75000"/>
                </a:srgbClr>
              </a:solidFill>
            </a:endParaRPr>
          </a:p>
        </p:txBody>
      </p:sp>
      <p:sp>
        <p:nvSpPr>
          <p:cNvPr id="3" name="Título 2"/>
          <p:cNvSpPr>
            <a:spLocks noGrp="1"/>
          </p:cNvSpPr>
          <p:nvPr>
            <p:ph type="title"/>
          </p:nvPr>
        </p:nvSpPr>
        <p:spPr>
          <a:xfrm>
            <a:off x="295038" y="897924"/>
            <a:ext cx="8595361" cy="518984"/>
          </a:xfrm>
        </p:spPr>
        <p:txBody>
          <a:bodyPr/>
          <a:lstStyle/>
          <a:p>
            <a:r>
              <a:rPr lang="es-ES" dirty="0">
                <a:sym typeface="Candara"/>
              </a:rPr>
              <a:t>Días promedio entre la apertura y la adjudicación</a:t>
            </a:r>
            <a:br>
              <a:rPr lang="es-ES" dirty="0">
                <a:sym typeface="Candara"/>
              </a:rPr>
            </a:br>
            <a:endParaRPr lang="es-CO" dirty="0"/>
          </a:p>
        </p:txBody>
      </p:sp>
      <p:sp>
        <p:nvSpPr>
          <p:cNvPr id="10" name="Título 2"/>
          <p:cNvSpPr txBox="1">
            <a:spLocks/>
          </p:cNvSpPr>
          <p:nvPr/>
        </p:nvSpPr>
        <p:spPr bwMode="auto">
          <a:xfrm>
            <a:off x="450900" y="5537503"/>
            <a:ext cx="8595361" cy="51898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br>
              <a:rPr lang="es-ES" sz="1200" dirty="0">
                <a:sym typeface="Candara"/>
              </a:rPr>
            </a:br>
            <a:endParaRPr lang="es-CO" sz="1200" dirty="0"/>
          </a:p>
        </p:txBody>
      </p:sp>
      <p:graphicFrame>
        <p:nvGraphicFramePr>
          <p:cNvPr id="8" name="Gráfico 7"/>
          <p:cNvGraphicFramePr>
            <a:graphicFrameLocks/>
          </p:cNvGraphicFramePr>
          <p:nvPr>
            <p:extLst>
              <p:ext uri="{D42A27DB-BD31-4B8C-83A1-F6EECF244321}">
                <p14:modId xmlns:p14="http://schemas.microsoft.com/office/powerpoint/2010/main" val="1859172723"/>
              </p:ext>
            </p:extLst>
          </p:nvPr>
        </p:nvGraphicFramePr>
        <p:xfrm>
          <a:off x="450900" y="1257300"/>
          <a:ext cx="8223200" cy="489411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1019862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04209" y="1918855"/>
            <a:ext cx="5956300" cy="1016000"/>
          </a:xfrm>
        </p:spPr>
        <p:txBody>
          <a:bodyPr/>
          <a:lstStyle/>
          <a:p>
            <a:pPr algn="just"/>
            <a:r>
              <a:rPr lang="es-CO" dirty="0"/>
              <a:t>4. Participación de Proponentes</a:t>
            </a:r>
            <a:br>
              <a:rPr lang="es-MX" dirty="0"/>
            </a:br>
            <a:br>
              <a:rPr lang="es-MX" dirty="0"/>
            </a:br>
            <a:br>
              <a:rPr lang="es-MX" dirty="0"/>
            </a:br>
            <a:r>
              <a:rPr lang="es-CO" sz="1200" dirty="0"/>
              <a:t>Para el período comprendido se presentaron dentro de los 54 procesos competitivos adelantados por la Agencia, 589 propuestas. La modalidad de selección que más proponentes atrae por el valor son los concursos de méritos con 344 propuestas en 11 procesos con un promedio de 31 propuestas por proceso de selección; la mínima cuantía con 99 propuestas para 25 procesos con un promedio de 4 propuestas por proceso y la selección Abreviada incluida la Subasta Inversa con 98 propuestas en 7 procesos con un promedio de 14 propuestas por proceso.</a:t>
            </a:r>
            <a:endParaRPr lang="es-MX" sz="1200" dirty="0"/>
          </a:p>
        </p:txBody>
      </p:sp>
    </p:spTree>
    <p:extLst>
      <p:ext uri="{BB962C8B-B14F-4D97-AF65-F5344CB8AC3E}">
        <p14:creationId xmlns:p14="http://schemas.microsoft.com/office/powerpoint/2010/main" val="2178321323"/>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3</a:t>
            </a:fld>
            <a:endParaRPr lang="es-CO" dirty="0">
              <a:solidFill>
                <a:srgbClr val="244061">
                  <a:tint val="75000"/>
                </a:srgbClr>
              </a:solidFill>
            </a:endParaRPr>
          </a:p>
        </p:txBody>
      </p:sp>
      <p:sp>
        <p:nvSpPr>
          <p:cNvPr id="3" name="Título 2"/>
          <p:cNvSpPr>
            <a:spLocks noGrp="1"/>
          </p:cNvSpPr>
          <p:nvPr>
            <p:ph type="title"/>
          </p:nvPr>
        </p:nvSpPr>
        <p:spPr>
          <a:xfrm>
            <a:off x="295038" y="897924"/>
            <a:ext cx="8595361" cy="518984"/>
          </a:xfrm>
        </p:spPr>
        <p:txBody>
          <a:bodyPr/>
          <a:lstStyle/>
          <a:p>
            <a:r>
              <a:rPr lang="es-ES" dirty="0">
                <a:sym typeface="Candara"/>
              </a:rPr>
              <a:t>Participación en procesos de selección</a:t>
            </a:r>
            <a:br>
              <a:rPr lang="es-ES" dirty="0">
                <a:sym typeface="Candara"/>
              </a:rPr>
            </a:br>
            <a:endParaRPr lang="es-CO" dirty="0"/>
          </a:p>
        </p:txBody>
      </p:sp>
      <p:sp>
        <p:nvSpPr>
          <p:cNvPr id="10" name="Título 2"/>
          <p:cNvSpPr txBox="1">
            <a:spLocks/>
          </p:cNvSpPr>
          <p:nvPr/>
        </p:nvSpPr>
        <p:spPr bwMode="auto">
          <a:xfrm>
            <a:off x="388555" y="5475157"/>
            <a:ext cx="7747527" cy="51898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br>
              <a:rPr lang="es-ES" sz="1200" dirty="0">
                <a:sym typeface="Candara"/>
              </a:rPr>
            </a:br>
            <a:endParaRPr lang="es-CO" sz="1200" dirty="0"/>
          </a:p>
        </p:txBody>
      </p:sp>
      <p:graphicFrame>
        <p:nvGraphicFramePr>
          <p:cNvPr id="6" name="Gráfico 5"/>
          <p:cNvGraphicFramePr>
            <a:graphicFrameLocks/>
          </p:cNvGraphicFramePr>
          <p:nvPr>
            <p:extLst>
              <p:ext uri="{D42A27DB-BD31-4B8C-83A1-F6EECF244321}">
                <p14:modId xmlns:p14="http://schemas.microsoft.com/office/powerpoint/2010/main" val="1705508616"/>
              </p:ext>
            </p:extLst>
          </p:nvPr>
        </p:nvGraphicFramePr>
        <p:xfrm>
          <a:off x="581891" y="1288474"/>
          <a:ext cx="7980218" cy="488372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07540247"/>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254827" y="1558636"/>
            <a:ext cx="5956300" cy="1016000"/>
          </a:xfrm>
        </p:spPr>
        <p:txBody>
          <a:bodyPr/>
          <a:lstStyle/>
          <a:p>
            <a:pPr algn="just"/>
            <a:r>
              <a:rPr lang="es-CO" dirty="0"/>
              <a:t>4.          Procesos Desiertos</a:t>
            </a:r>
            <a:br>
              <a:rPr lang="es-MX" dirty="0"/>
            </a:br>
            <a:br>
              <a:rPr lang="es-CO" dirty="0"/>
            </a:br>
            <a:br>
              <a:rPr lang="es-CO" dirty="0"/>
            </a:br>
            <a:r>
              <a:rPr lang="es-CO" sz="1200" dirty="0"/>
              <a:t>Hace referencia a aquellos contratos cuya vocación de ser adjudicados, se vio truncada o por ausencia de proponentes o por que habiendo existido proponentes, los mismos no cumplieron con los requisitos establecidos en el pliego de condiciones; para el período evaluado el reporte es de 5 procesos declarados desiertos: 1 IPB, 2 Concursos de Méritos y 2 procesos de Mínima cuantía.</a:t>
            </a:r>
            <a:endParaRPr lang="es-MX" sz="1200" dirty="0"/>
          </a:p>
        </p:txBody>
      </p:sp>
    </p:spTree>
    <p:extLst>
      <p:ext uri="{BB962C8B-B14F-4D97-AF65-F5344CB8AC3E}">
        <p14:creationId xmlns:p14="http://schemas.microsoft.com/office/powerpoint/2010/main" val="27108012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5</a:t>
            </a:fld>
            <a:endParaRPr lang="es-CO" dirty="0">
              <a:solidFill>
                <a:srgbClr val="244061">
                  <a:tint val="75000"/>
                </a:srgbClr>
              </a:solidFill>
            </a:endParaRPr>
          </a:p>
        </p:txBody>
      </p:sp>
      <p:sp>
        <p:nvSpPr>
          <p:cNvPr id="3" name="Título 2"/>
          <p:cNvSpPr>
            <a:spLocks noGrp="1"/>
          </p:cNvSpPr>
          <p:nvPr>
            <p:ph type="title"/>
          </p:nvPr>
        </p:nvSpPr>
        <p:spPr>
          <a:xfrm>
            <a:off x="295038" y="540327"/>
            <a:ext cx="8595361" cy="789709"/>
          </a:xfrm>
        </p:spPr>
        <p:txBody>
          <a:bodyPr/>
          <a:lstStyle/>
          <a:p>
            <a:r>
              <a:rPr lang="es-ES" dirty="0">
                <a:sym typeface="Candara"/>
              </a:rPr>
              <a:t>Desiertos por modalidad de selección</a:t>
            </a:r>
            <a:br>
              <a:rPr lang="es-ES" dirty="0">
                <a:sym typeface="Candara"/>
              </a:rPr>
            </a:br>
            <a:endParaRPr lang="es-CO" dirty="0"/>
          </a:p>
        </p:txBody>
      </p:sp>
      <p:graphicFrame>
        <p:nvGraphicFramePr>
          <p:cNvPr id="5" name="Gráfico 4"/>
          <p:cNvGraphicFramePr>
            <a:graphicFrameLocks/>
          </p:cNvGraphicFramePr>
          <p:nvPr>
            <p:extLst>
              <p:ext uri="{D42A27DB-BD31-4B8C-83A1-F6EECF244321}">
                <p14:modId xmlns:p14="http://schemas.microsoft.com/office/powerpoint/2010/main" val="300909704"/>
              </p:ext>
            </p:extLst>
          </p:nvPr>
        </p:nvGraphicFramePr>
        <p:xfrm>
          <a:off x="581891" y="1330036"/>
          <a:ext cx="7949045" cy="484216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75168143"/>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254827" y="1558636"/>
            <a:ext cx="5956300" cy="1016000"/>
          </a:xfrm>
        </p:spPr>
        <p:txBody>
          <a:bodyPr/>
          <a:lstStyle/>
          <a:p>
            <a:pPr algn="just"/>
            <a:r>
              <a:rPr lang="es-CO" dirty="0"/>
              <a:t>5. Procesos cancelados</a:t>
            </a:r>
            <a:br>
              <a:rPr lang="es-MX" dirty="0"/>
            </a:br>
            <a:br>
              <a:rPr lang="es-MX" dirty="0"/>
            </a:br>
            <a:br>
              <a:rPr lang="es-MX" dirty="0"/>
            </a:br>
            <a:r>
              <a:rPr lang="es-CO" sz="1200" dirty="0"/>
              <a:t>Hace referencia a aquellos procesos que fueron terminados anormalmente antes de su adjudicación.  Generalmente se debe a un acto unilateral de la administración; para el período evaluado el reporte de procesos cancelados fue de  1 proceso cancelado unilateralmente por la Administración relacionado con la Mínima cuantía.</a:t>
            </a:r>
            <a:endParaRPr lang="es-MX" sz="1200" dirty="0"/>
          </a:p>
        </p:txBody>
      </p:sp>
    </p:spTree>
    <p:extLst>
      <p:ext uri="{BB962C8B-B14F-4D97-AF65-F5344CB8AC3E}">
        <p14:creationId xmlns:p14="http://schemas.microsoft.com/office/powerpoint/2010/main" val="1339457224"/>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254827" y="1558636"/>
            <a:ext cx="5956300" cy="1016000"/>
          </a:xfrm>
        </p:spPr>
        <p:txBody>
          <a:bodyPr/>
          <a:lstStyle/>
          <a:p>
            <a:pPr algn="just"/>
            <a:r>
              <a:rPr lang="es-CO" dirty="0"/>
              <a:t>6.Adendas</a:t>
            </a:r>
            <a:br>
              <a:rPr lang="es-MX" dirty="0"/>
            </a:br>
            <a:br>
              <a:rPr lang="es-MX" dirty="0"/>
            </a:br>
            <a:br>
              <a:rPr lang="es-MX" dirty="0"/>
            </a:br>
            <a:r>
              <a:rPr lang="es-CO" sz="1200" dirty="0"/>
              <a:t>Hace referencia a las modificaciones realizadas a los pliegos de condiciones y a los avisos modificatorios realizados para cada uno de los procesos competitivos adelantados por la entidad.  Las adendas se discriminan por modalidad de selección y según si modifican el contenido de los pliegos de condiciones o aquellas adendas modificatorias de los plazos del proceso de selección:</a:t>
            </a:r>
            <a:br>
              <a:rPr lang="es-CO" sz="1200" dirty="0"/>
            </a:br>
            <a:br>
              <a:rPr lang="es-MX" sz="1200" dirty="0"/>
            </a:br>
            <a:r>
              <a:rPr lang="es-CO" sz="1200" dirty="0"/>
              <a:t>63 adendas en total; de estas, existen 33 modificando el plazo del contrato, siendo el concurso de méritos el proceso con mayor número de adendas (16).</a:t>
            </a:r>
            <a:br>
              <a:rPr lang="es-MX" sz="1200" dirty="0"/>
            </a:br>
            <a:r>
              <a:rPr lang="es-CO" sz="1200" dirty="0"/>
              <a:t>25adendas que modifican pliegos de condiciones, siendo las IPB la modalidad con mayor número de adendas con 9, seguido de la selección abreviada y el Concurso de méritos con 5 adendas para cada modalidad;</a:t>
            </a:r>
            <a:br>
              <a:rPr lang="es-MX" sz="1200" dirty="0"/>
            </a:br>
            <a:r>
              <a:rPr lang="es-CO" sz="1200" dirty="0"/>
              <a:t>75adendas mixtas que modifican tanto plazo como pliegos, siendo el concurso de méritos el proceso con mayor número de adendas mixtas (3) y el procesos de SA/IPV con 2.</a:t>
            </a:r>
            <a:endParaRPr lang="es-MX" sz="1200" dirty="0"/>
          </a:p>
        </p:txBody>
      </p:sp>
    </p:spTree>
    <p:extLst>
      <p:ext uri="{BB962C8B-B14F-4D97-AF65-F5344CB8AC3E}">
        <p14:creationId xmlns:p14="http://schemas.microsoft.com/office/powerpoint/2010/main" val="587237405"/>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25E201F2-EFDD-4C4F-8749-0371D46E11D1}" type="slidenum">
              <a:rPr lang="es-CO" smtClean="0">
                <a:solidFill>
                  <a:srgbClr val="244061">
                    <a:tint val="75000"/>
                  </a:srgbClr>
                </a:solidFill>
              </a:rPr>
              <a:pPr>
                <a:defRPr/>
              </a:pPr>
              <a:t>18</a:t>
            </a:fld>
            <a:endParaRPr lang="es-CO" dirty="0">
              <a:solidFill>
                <a:srgbClr val="244061">
                  <a:tint val="75000"/>
                </a:srgbClr>
              </a:solidFill>
            </a:endParaRPr>
          </a:p>
        </p:txBody>
      </p:sp>
      <p:sp>
        <p:nvSpPr>
          <p:cNvPr id="5" name="Título 2"/>
          <p:cNvSpPr txBox="1">
            <a:spLocks/>
          </p:cNvSpPr>
          <p:nvPr/>
        </p:nvSpPr>
        <p:spPr>
          <a:xfrm>
            <a:off x="295038" y="540327"/>
            <a:ext cx="8595361" cy="789709"/>
          </a:xfrm>
          <a:prstGeom prst="rect">
            <a:avLst/>
          </a:prstGeom>
        </p:spPr>
        <p:txBody>
          <a:bodyPr/>
          <a:lst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dirty="0">
                <a:sym typeface="Candara"/>
              </a:rPr>
              <a:t>Adendas por modalidad de selección</a:t>
            </a:r>
            <a:br>
              <a:rPr lang="es-ES" dirty="0">
                <a:sym typeface="Candara"/>
              </a:rPr>
            </a:br>
            <a:endParaRPr lang="es-CO" dirty="0"/>
          </a:p>
        </p:txBody>
      </p:sp>
      <p:graphicFrame>
        <p:nvGraphicFramePr>
          <p:cNvPr id="6" name="Gráfico 5"/>
          <p:cNvGraphicFramePr>
            <a:graphicFrameLocks/>
          </p:cNvGraphicFramePr>
          <p:nvPr>
            <p:extLst>
              <p:ext uri="{D42A27DB-BD31-4B8C-83A1-F6EECF244321}">
                <p14:modId xmlns:p14="http://schemas.microsoft.com/office/powerpoint/2010/main" val="1111165650"/>
              </p:ext>
            </p:extLst>
          </p:nvPr>
        </p:nvGraphicFramePr>
        <p:xfrm>
          <a:off x="415636" y="1205345"/>
          <a:ext cx="7928264" cy="479021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9647616"/>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25E201F2-EFDD-4C4F-8749-0371D46E11D1}" type="slidenum">
              <a:rPr lang="es-CO" smtClean="0">
                <a:solidFill>
                  <a:srgbClr val="244061">
                    <a:tint val="75000"/>
                  </a:srgbClr>
                </a:solidFill>
              </a:rPr>
              <a:pPr>
                <a:defRPr/>
              </a:pPr>
              <a:t>19</a:t>
            </a:fld>
            <a:endParaRPr lang="es-CO" dirty="0">
              <a:solidFill>
                <a:srgbClr val="244061">
                  <a:tint val="75000"/>
                </a:srgbClr>
              </a:solidFill>
            </a:endParaRPr>
          </a:p>
        </p:txBody>
      </p:sp>
      <p:sp>
        <p:nvSpPr>
          <p:cNvPr id="5" name="Título 2"/>
          <p:cNvSpPr txBox="1">
            <a:spLocks/>
          </p:cNvSpPr>
          <p:nvPr/>
        </p:nvSpPr>
        <p:spPr>
          <a:xfrm>
            <a:off x="295038" y="540327"/>
            <a:ext cx="8595361" cy="789709"/>
          </a:xfrm>
          <a:prstGeom prst="rect">
            <a:avLst/>
          </a:prstGeom>
        </p:spPr>
        <p:txBody>
          <a:bodyPr/>
          <a:lst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dirty="0">
                <a:sym typeface="Candara"/>
              </a:rPr>
              <a:t>Contratos con Supervisión e Interventoría </a:t>
            </a:r>
            <a:r>
              <a:rPr lang="es-ES" sz="1000" dirty="0">
                <a:sym typeface="Candara"/>
              </a:rPr>
              <a:t>(No Incluye contratos de concesión portuaria)</a:t>
            </a:r>
          </a:p>
          <a:p>
            <a:br>
              <a:rPr lang="es-ES" dirty="0">
                <a:sym typeface="Candara"/>
              </a:rPr>
            </a:br>
            <a:endParaRPr lang="es-CO" dirty="0"/>
          </a:p>
        </p:txBody>
      </p:sp>
      <p:graphicFrame>
        <p:nvGraphicFramePr>
          <p:cNvPr id="3" name="Tabla 2"/>
          <p:cNvGraphicFramePr>
            <a:graphicFrameLocks noGrp="1"/>
          </p:cNvGraphicFramePr>
          <p:nvPr>
            <p:extLst>
              <p:ext uri="{D42A27DB-BD31-4B8C-83A1-F6EECF244321}">
                <p14:modId xmlns:p14="http://schemas.microsoft.com/office/powerpoint/2010/main" val="1635172374"/>
              </p:ext>
            </p:extLst>
          </p:nvPr>
        </p:nvGraphicFramePr>
        <p:xfrm>
          <a:off x="295038" y="1159915"/>
          <a:ext cx="8229600" cy="1524000"/>
        </p:xfrm>
        <a:graphic>
          <a:graphicData uri="http://schemas.openxmlformats.org/drawingml/2006/table">
            <a:tbl>
              <a:tblPr/>
              <a:tblGrid>
                <a:gridCol w="2336800">
                  <a:extLst>
                    <a:ext uri="{9D8B030D-6E8A-4147-A177-3AD203B41FA5}">
                      <a16:colId xmlns:a16="http://schemas.microsoft.com/office/drawing/2014/main" val="778172795"/>
                    </a:ext>
                  </a:extLst>
                </a:gridCol>
                <a:gridCol w="1955800">
                  <a:extLst>
                    <a:ext uri="{9D8B030D-6E8A-4147-A177-3AD203B41FA5}">
                      <a16:colId xmlns:a16="http://schemas.microsoft.com/office/drawing/2014/main" val="104963174"/>
                    </a:ext>
                  </a:extLst>
                </a:gridCol>
                <a:gridCol w="1968500">
                  <a:extLst>
                    <a:ext uri="{9D8B030D-6E8A-4147-A177-3AD203B41FA5}">
                      <a16:colId xmlns:a16="http://schemas.microsoft.com/office/drawing/2014/main" val="3904653415"/>
                    </a:ext>
                  </a:extLst>
                </a:gridCol>
                <a:gridCol w="1968500">
                  <a:extLst>
                    <a:ext uri="{9D8B030D-6E8A-4147-A177-3AD203B41FA5}">
                      <a16:colId xmlns:a16="http://schemas.microsoft.com/office/drawing/2014/main" val="4001645737"/>
                    </a:ext>
                  </a:extLst>
                </a:gridCol>
              </a:tblGrid>
              <a:tr h="190500">
                <a:tc>
                  <a:txBody>
                    <a:bodyPr/>
                    <a:lstStyle/>
                    <a:p>
                      <a:pPr algn="l" fontAlgn="b"/>
                      <a:r>
                        <a:rPr lang="es-CO" sz="1100" b="0" i="0" u="none" strike="noStrike">
                          <a:solidFill>
                            <a:srgbClr val="000000"/>
                          </a:solidFill>
                          <a:effectLst/>
                          <a:latin typeface="Calibri" panose="020F0502020204030204" pitchFamily="34" charset="0"/>
                        </a:rPr>
                        <a:t>MODALIDAD DE SELECCIÓ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s-CO" sz="1100" b="0" i="0" u="none" strike="noStrike">
                          <a:solidFill>
                            <a:srgbClr val="000000"/>
                          </a:solidFill>
                          <a:effectLst/>
                          <a:latin typeface="Calibri" panose="020F0502020204030204" pitchFamily="34" charset="0"/>
                        </a:rPr>
                        <a:t># DE CONTRATO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s-CO" sz="1100" b="0" i="0" u="none" strike="noStrike">
                          <a:solidFill>
                            <a:srgbClr val="000000"/>
                          </a:solidFill>
                          <a:effectLst/>
                          <a:latin typeface="Calibri" panose="020F0502020204030204" pitchFamily="34" charset="0"/>
                        </a:rPr>
                        <a:t>CON SUPERVISIÓ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tc>
                  <a:txBody>
                    <a:bodyPr/>
                    <a:lstStyle/>
                    <a:p>
                      <a:pPr algn="l" fontAlgn="b"/>
                      <a:r>
                        <a:rPr lang="es-CO" sz="1100" b="0" i="0" u="none" strike="noStrike">
                          <a:solidFill>
                            <a:srgbClr val="000000"/>
                          </a:solidFill>
                          <a:effectLst/>
                          <a:latin typeface="Calibri" panose="020F0502020204030204" pitchFamily="34" charset="0"/>
                        </a:rPr>
                        <a:t>CON INTERVENTORI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8CBAD"/>
                    </a:solidFill>
                  </a:tcPr>
                </a:tc>
                <a:extLst>
                  <a:ext uri="{0D108BD9-81ED-4DB2-BD59-A6C34878D82A}">
                    <a16:rowId xmlns:a16="http://schemas.microsoft.com/office/drawing/2014/main" val="1368327145"/>
                  </a:ext>
                </a:extLst>
              </a:tr>
              <a:tr h="190500">
                <a:tc>
                  <a:txBody>
                    <a:bodyPr/>
                    <a:lstStyle/>
                    <a:p>
                      <a:pPr algn="ctr" fontAlgn="b"/>
                      <a:r>
                        <a:rPr lang="es-CO" sz="1100" b="0" i="0" u="none" strike="noStrike" dirty="0">
                          <a:solidFill>
                            <a:srgbClr val="000000"/>
                          </a:solidFill>
                          <a:effectLst/>
                          <a:latin typeface="Calibri" panose="020F0502020204030204" pitchFamily="34" charset="0"/>
                        </a:rPr>
                        <a:t>CONCURSO DE MERITO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1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271230"/>
                  </a:ext>
                </a:extLst>
              </a:tr>
              <a:tr h="190500">
                <a:tc>
                  <a:txBody>
                    <a:bodyPr/>
                    <a:lstStyle/>
                    <a:p>
                      <a:pPr algn="ctr" fontAlgn="b"/>
                      <a:r>
                        <a:rPr lang="es-CO" sz="1100" b="0" i="0" u="none" strike="noStrike">
                          <a:solidFill>
                            <a:srgbClr val="000000"/>
                          </a:solidFill>
                          <a:effectLst/>
                          <a:latin typeface="Calibri" panose="020F0502020204030204" pitchFamily="34" charset="0"/>
                        </a:rPr>
                        <a:t>CONTRATACIÓN DIRECT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5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59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83304511"/>
                  </a:ext>
                </a:extLst>
              </a:tr>
              <a:tr h="190500">
                <a:tc>
                  <a:txBody>
                    <a:bodyPr/>
                    <a:lstStyle/>
                    <a:p>
                      <a:pPr algn="ctr" fontAlgn="b"/>
                      <a:r>
                        <a:rPr lang="es-CO" sz="1100" b="0" i="0" u="none" strike="noStrike">
                          <a:solidFill>
                            <a:srgbClr val="000000"/>
                          </a:solidFill>
                          <a:effectLst/>
                          <a:latin typeface="Calibri" panose="020F0502020204030204" pitchFamily="34" charset="0"/>
                        </a:rPr>
                        <a:t>MINIMA CUANTI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2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7024323"/>
                  </a:ext>
                </a:extLst>
              </a:tr>
              <a:tr h="190500">
                <a:tc>
                  <a:txBody>
                    <a:bodyPr/>
                    <a:lstStyle/>
                    <a:p>
                      <a:pPr algn="ctr" fontAlgn="b"/>
                      <a:r>
                        <a:rPr lang="es-CO" sz="1100" b="0" i="0" u="none" strike="noStrike">
                          <a:solidFill>
                            <a:srgbClr val="000000"/>
                          </a:solidFill>
                          <a:effectLst/>
                          <a:latin typeface="Calibri" panose="020F0502020204030204" pitchFamily="34" charset="0"/>
                        </a:rPr>
                        <a:t>SELECCIÓN ABREVIAD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8</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04907104"/>
                  </a:ext>
                </a:extLst>
              </a:tr>
              <a:tr h="190500">
                <a:tc>
                  <a:txBody>
                    <a:bodyPr/>
                    <a:lstStyle/>
                    <a:p>
                      <a:pPr algn="ctr" fontAlgn="b"/>
                      <a:r>
                        <a:rPr lang="es-CO" sz="1100" b="0" i="0" u="none" strike="noStrike">
                          <a:solidFill>
                            <a:srgbClr val="000000"/>
                          </a:solidFill>
                          <a:effectLst/>
                          <a:latin typeface="Calibri" panose="020F0502020204030204" pitchFamily="34" charset="0"/>
                        </a:rPr>
                        <a:t>LICITACIÓN PÚBLIC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1345732"/>
                  </a:ext>
                </a:extLst>
              </a:tr>
              <a:tr h="190500">
                <a:tc>
                  <a:txBody>
                    <a:bodyPr/>
                    <a:lstStyle/>
                    <a:p>
                      <a:pPr algn="ctr" fontAlgn="b"/>
                      <a:r>
                        <a:rPr lang="es-CO" sz="1100" b="0" i="0" u="none" strike="noStrike">
                          <a:solidFill>
                            <a:srgbClr val="000000"/>
                          </a:solidFill>
                          <a:effectLst/>
                          <a:latin typeface="Calibri" panose="020F0502020204030204" pitchFamily="34" charset="0"/>
                        </a:rPr>
                        <a:t>APP</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4</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85019251"/>
                  </a:ext>
                </a:extLst>
              </a:tr>
              <a:tr h="190500">
                <a:tc>
                  <a:txBody>
                    <a:bodyPr/>
                    <a:lstStyle/>
                    <a:p>
                      <a:pPr algn="ctr" fontAlgn="b"/>
                      <a:r>
                        <a:rPr lang="es-CO" sz="1100" b="0" i="0" u="none" strike="noStrike" dirty="0">
                          <a:solidFill>
                            <a:srgbClr val="000000"/>
                          </a:solidFill>
                          <a:effectLst/>
                          <a:latin typeface="Calibri" panose="020F0502020204030204" pitchFamily="34" charset="0"/>
                        </a:rPr>
                        <a:t>CONVENIOS INTERADMINISTRATIVOS</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a:solidFill>
                            <a:srgbClr val="000000"/>
                          </a:solidFill>
                          <a:effectLst/>
                          <a:latin typeface="Calibri" panose="020F0502020204030204" pitchFamily="34" charset="0"/>
                        </a:rPr>
                        <a:t>2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es-CO" sz="1100" b="0" i="0" u="none" strike="noStrike" dirty="0">
                          <a:solidFill>
                            <a:srgbClr val="000000"/>
                          </a:solidFill>
                          <a:effectLst/>
                          <a:latin typeface="Calibri" panose="020F0502020204030204" pitchFamily="34" charset="0"/>
                        </a:rPr>
                        <a:t>N.A.</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1027182"/>
                  </a:ext>
                </a:extLst>
              </a:tr>
            </a:tbl>
          </a:graphicData>
        </a:graphic>
      </p:graphicFrame>
      <p:graphicFrame>
        <p:nvGraphicFramePr>
          <p:cNvPr id="7" name="Gráfico 6">
            <a:extLst>
              <a:ext uri="{FF2B5EF4-FFF2-40B4-BE49-F238E27FC236}">
                <a16:creationId xmlns:a16="http://schemas.microsoft.com/office/drawing/2014/main" id="{FBBEA4E8-DC0B-45BC-BF25-133364F34F94}"/>
              </a:ext>
            </a:extLst>
          </p:cNvPr>
          <p:cNvGraphicFramePr>
            <a:graphicFrameLocks/>
          </p:cNvGraphicFramePr>
          <p:nvPr>
            <p:extLst>
              <p:ext uri="{D42A27DB-BD31-4B8C-83A1-F6EECF244321}">
                <p14:modId xmlns:p14="http://schemas.microsoft.com/office/powerpoint/2010/main" val="3673136598"/>
              </p:ext>
            </p:extLst>
          </p:nvPr>
        </p:nvGraphicFramePr>
        <p:xfrm>
          <a:off x="1690450" y="2974716"/>
          <a:ext cx="5438775" cy="347662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71682414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a:sym typeface="Candara"/>
              </a:rPr>
              <a:t>PROCESOS 2016.</a:t>
            </a:r>
            <a:br>
              <a:rPr lang="es-ES" dirty="0">
                <a:sym typeface="Candara"/>
              </a:rPr>
            </a:br>
            <a:r>
              <a:rPr lang="es-ES" sz="1200" dirty="0">
                <a:sym typeface="Candara"/>
              </a:rPr>
              <a:t>Fuente: </a:t>
            </a:r>
            <a:r>
              <a:rPr lang="es-ES" sz="1200" dirty="0">
                <a:sym typeface="Candara"/>
                <a:hlinkClick r:id="rId2"/>
              </a:rPr>
              <a:t>https://www.contratos.gov.co/consultas/inicioConsulta.do</a:t>
            </a:r>
            <a:br>
              <a:rPr lang="es-ES" sz="1200" dirty="0">
                <a:sym typeface="Candara"/>
              </a:rPr>
            </a:br>
            <a:endParaRPr lang="es-CO" dirty="0"/>
          </a:p>
        </p:txBody>
      </p:sp>
    </p:spTree>
    <p:extLst>
      <p:ext uri="{BB962C8B-B14F-4D97-AF65-F5344CB8AC3E}">
        <p14:creationId xmlns:p14="http://schemas.microsoft.com/office/powerpoint/2010/main" val="1042874324"/>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25E201F2-EFDD-4C4F-8749-0371D46E11D1}" type="slidenum">
              <a:rPr lang="es-CO" smtClean="0">
                <a:solidFill>
                  <a:srgbClr val="244061">
                    <a:tint val="75000"/>
                  </a:srgbClr>
                </a:solidFill>
              </a:rPr>
              <a:pPr>
                <a:defRPr/>
              </a:pPr>
              <a:t>20</a:t>
            </a:fld>
            <a:endParaRPr lang="es-CO" dirty="0">
              <a:solidFill>
                <a:srgbClr val="244061">
                  <a:tint val="75000"/>
                </a:srgbClr>
              </a:solidFill>
            </a:endParaRPr>
          </a:p>
        </p:txBody>
      </p:sp>
      <p:sp>
        <p:nvSpPr>
          <p:cNvPr id="3" name="CuadroTexto 2"/>
          <p:cNvSpPr txBox="1"/>
          <p:nvPr/>
        </p:nvSpPr>
        <p:spPr>
          <a:xfrm>
            <a:off x="602673" y="1600200"/>
            <a:ext cx="7523018" cy="1384995"/>
          </a:xfrm>
          <a:prstGeom prst="rect">
            <a:avLst/>
          </a:prstGeom>
          <a:noFill/>
        </p:spPr>
        <p:txBody>
          <a:bodyPr wrap="square" lIns="0" tIns="0" rIns="0" bIns="0" rtlCol="0">
            <a:spAutoFit/>
          </a:bodyPr>
          <a:lstStyle/>
          <a:p>
            <a:pPr algn="just">
              <a:spcBef>
                <a:spcPts val="600"/>
              </a:spcBef>
              <a:spcAft>
                <a:spcPts val="600"/>
              </a:spcAft>
              <a:buClr>
                <a:schemeClr val="accent2"/>
              </a:buClr>
              <a:buSzPct val="120000"/>
            </a:pPr>
            <a:r>
              <a:rPr lang="es-CO" dirty="0"/>
              <a:t>Los indicadores utilizados en esta presentación, han sido tomados de la Evaluación de Adquisición País, realizada en Colombia en el año 2008 liderada por Planeación Nacional, de conformidad con la metodología OCDE y para atender los requerimientos de información del ITN – Índice de Transparencia Nacional según la metodología 2013 - 2014. </a:t>
            </a:r>
          </a:p>
        </p:txBody>
      </p:sp>
    </p:spTree>
    <p:extLst>
      <p:ext uri="{BB962C8B-B14F-4D97-AF65-F5344CB8AC3E}">
        <p14:creationId xmlns:p14="http://schemas.microsoft.com/office/powerpoint/2010/main" val="1688218736"/>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a:t>
            </a:fld>
            <a:endParaRPr lang="es-CO" dirty="0">
              <a:solidFill>
                <a:srgbClr val="244061">
                  <a:tint val="75000"/>
                </a:srgbClr>
              </a:solidFill>
            </a:endParaRPr>
          </a:p>
        </p:txBody>
      </p:sp>
      <p:sp>
        <p:nvSpPr>
          <p:cNvPr id="3" name="Título 2"/>
          <p:cNvSpPr>
            <a:spLocks noGrp="1"/>
          </p:cNvSpPr>
          <p:nvPr>
            <p:ph type="title"/>
          </p:nvPr>
        </p:nvSpPr>
        <p:spPr>
          <a:xfrm>
            <a:off x="295038" y="888688"/>
            <a:ext cx="8595361" cy="518984"/>
          </a:xfrm>
        </p:spPr>
        <p:txBody>
          <a:bodyPr/>
          <a:lstStyle/>
          <a:p>
            <a:r>
              <a:rPr lang="es-ES" dirty="0">
                <a:sym typeface="Candara"/>
              </a:rPr>
              <a:t>Procesos 2016 por Modalidad de Selección</a:t>
            </a:r>
            <a:br>
              <a:rPr lang="es-ES" dirty="0">
                <a:sym typeface="Candara"/>
              </a:rPr>
            </a:br>
            <a:endParaRPr lang="es-CO" dirty="0"/>
          </a:p>
        </p:txBody>
      </p:sp>
      <p:sp>
        <p:nvSpPr>
          <p:cNvPr id="10" name="Título 2"/>
          <p:cNvSpPr txBox="1">
            <a:spLocks/>
          </p:cNvSpPr>
          <p:nvPr/>
        </p:nvSpPr>
        <p:spPr bwMode="auto">
          <a:xfrm>
            <a:off x="627546" y="6339016"/>
            <a:ext cx="8595361" cy="51898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sz="1200" dirty="0">
                <a:sym typeface="Candara"/>
              </a:rPr>
              <a:t>*No incluye  contratación Directa</a:t>
            </a:r>
            <a:br>
              <a:rPr lang="es-ES" sz="1200" dirty="0">
                <a:sym typeface="Candara"/>
              </a:rPr>
            </a:br>
            <a:endParaRPr lang="es-CO" sz="1200" dirty="0"/>
          </a:p>
        </p:txBody>
      </p:sp>
      <p:pic>
        <p:nvPicPr>
          <p:cNvPr id="5" name="Imagen 4"/>
          <p:cNvPicPr>
            <a:picLocks noChangeAspect="1"/>
          </p:cNvPicPr>
          <p:nvPr/>
        </p:nvPicPr>
        <p:blipFill>
          <a:blip r:embed="rId2"/>
          <a:stretch>
            <a:fillRect/>
          </a:stretch>
        </p:blipFill>
        <p:spPr>
          <a:xfrm>
            <a:off x="477982" y="1508593"/>
            <a:ext cx="8196118" cy="4830423"/>
          </a:xfrm>
          <a:prstGeom prst="rect">
            <a:avLst/>
          </a:prstGeom>
        </p:spPr>
      </p:pic>
    </p:spTree>
    <p:extLst>
      <p:ext uri="{BB962C8B-B14F-4D97-AF65-F5344CB8AC3E}">
        <p14:creationId xmlns:p14="http://schemas.microsoft.com/office/powerpoint/2010/main" val="157117221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4</a:t>
            </a:fld>
            <a:endParaRPr lang="es-CO" dirty="0">
              <a:solidFill>
                <a:srgbClr val="244061">
                  <a:tint val="75000"/>
                </a:srgbClr>
              </a:solidFill>
            </a:endParaRPr>
          </a:p>
        </p:txBody>
      </p:sp>
      <p:sp>
        <p:nvSpPr>
          <p:cNvPr id="3" name="Título 2"/>
          <p:cNvSpPr>
            <a:spLocks noGrp="1"/>
          </p:cNvSpPr>
          <p:nvPr>
            <p:ph type="title"/>
          </p:nvPr>
        </p:nvSpPr>
        <p:spPr>
          <a:xfrm>
            <a:off x="295038" y="888688"/>
            <a:ext cx="8595361" cy="518984"/>
          </a:xfrm>
        </p:spPr>
        <p:txBody>
          <a:bodyPr/>
          <a:lstStyle/>
          <a:p>
            <a:r>
              <a:rPr lang="es-ES" dirty="0">
                <a:sym typeface="Candara"/>
              </a:rPr>
              <a:t>Procesos 2016 por Modalidad de Selección(Incluye Cont. Directa)</a:t>
            </a:r>
            <a:br>
              <a:rPr lang="es-ES" dirty="0">
                <a:sym typeface="Candara"/>
              </a:rPr>
            </a:br>
            <a:endParaRPr lang="es-CO" dirty="0"/>
          </a:p>
        </p:txBody>
      </p:sp>
      <p:sp>
        <p:nvSpPr>
          <p:cNvPr id="10" name="Título 2"/>
          <p:cNvSpPr txBox="1">
            <a:spLocks/>
          </p:cNvSpPr>
          <p:nvPr/>
        </p:nvSpPr>
        <p:spPr bwMode="auto">
          <a:xfrm>
            <a:off x="295037" y="6286515"/>
            <a:ext cx="8595361" cy="23842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sz="1200" dirty="0">
                <a:sym typeface="Candara"/>
              </a:rPr>
              <a:t>*incluye  contratación Directa (Prestación de Servicios y Convenios Interadministrativos)</a:t>
            </a:r>
            <a:endParaRPr lang="es-CO" sz="1200" dirty="0"/>
          </a:p>
        </p:txBody>
      </p:sp>
      <p:graphicFrame>
        <p:nvGraphicFramePr>
          <p:cNvPr id="7" name="Gráfico 6"/>
          <p:cNvGraphicFramePr>
            <a:graphicFrameLocks/>
          </p:cNvGraphicFramePr>
          <p:nvPr>
            <p:extLst>
              <p:ext uri="{D42A27DB-BD31-4B8C-83A1-F6EECF244321}">
                <p14:modId xmlns:p14="http://schemas.microsoft.com/office/powerpoint/2010/main" val="3789874772"/>
              </p:ext>
            </p:extLst>
          </p:nvPr>
        </p:nvGraphicFramePr>
        <p:xfrm>
          <a:off x="295038" y="1215736"/>
          <a:ext cx="8379062" cy="486294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1237038"/>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5</a:t>
            </a:fld>
            <a:endParaRPr lang="es-CO" dirty="0">
              <a:solidFill>
                <a:srgbClr val="244061">
                  <a:tint val="75000"/>
                </a:srgbClr>
              </a:solidFill>
            </a:endParaRPr>
          </a:p>
        </p:txBody>
      </p:sp>
      <p:sp>
        <p:nvSpPr>
          <p:cNvPr id="3" name="Título 2"/>
          <p:cNvSpPr>
            <a:spLocks noGrp="1"/>
          </p:cNvSpPr>
          <p:nvPr>
            <p:ph type="title"/>
          </p:nvPr>
        </p:nvSpPr>
        <p:spPr>
          <a:xfrm>
            <a:off x="280555" y="545255"/>
            <a:ext cx="8609844" cy="493272"/>
          </a:xfrm>
        </p:spPr>
        <p:txBody>
          <a:bodyPr/>
          <a:lstStyle/>
          <a:p>
            <a:r>
              <a:rPr lang="es-ES" dirty="0">
                <a:sym typeface="Candara"/>
              </a:rPr>
              <a:t>Procesos 2016 Valor total procesos VS. valor por modalidad</a:t>
            </a:r>
            <a:endParaRPr lang="es-CO" dirty="0"/>
          </a:p>
        </p:txBody>
      </p:sp>
      <p:sp>
        <p:nvSpPr>
          <p:cNvPr id="10" name="Título 2"/>
          <p:cNvSpPr txBox="1">
            <a:spLocks/>
          </p:cNvSpPr>
          <p:nvPr/>
        </p:nvSpPr>
        <p:spPr bwMode="auto">
          <a:xfrm>
            <a:off x="627546" y="6339016"/>
            <a:ext cx="8595361" cy="51898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sz="1200" dirty="0">
                <a:sym typeface="Candara"/>
              </a:rPr>
              <a:t>La contratación directa ( Prestación de servicios y convenios es equivalente </a:t>
            </a:r>
          </a:p>
          <a:p>
            <a:r>
              <a:rPr lang="es-ES" sz="1200" dirty="0">
                <a:sym typeface="Candara"/>
              </a:rPr>
              <a:t>al 0,20% del valor total de procesos)</a:t>
            </a:r>
          </a:p>
          <a:p>
            <a:br>
              <a:rPr lang="es-ES" sz="1200" dirty="0">
                <a:sym typeface="Candara"/>
              </a:rPr>
            </a:br>
            <a:endParaRPr lang="es-CO" sz="1200" dirty="0"/>
          </a:p>
        </p:txBody>
      </p:sp>
      <p:graphicFrame>
        <p:nvGraphicFramePr>
          <p:cNvPr id="7" name="Gráfico 6"/>
          <p:cNvGraphicFramePr>
            <a:graphicFrameLocks/>
          </p:cNvGraphicFramePr>
          <p:nvPr>
            <p:extLst>
              <p:ext uri="{D42A27DB-BD31-4B8C-83A1-F6EECF244321}">
                <p14:modId xmlns:p14="http://schemas.microsoft.com/office/powerpoint/2010/main" val="4085889447"/>
              </p:ext>
            </p:extLst>
          </p:nvPr>
        </p:nvGraphicFramePr>
        <p:xfrm>
          <a:off x="280555" y="1226127"/>
          <a:ext cx="8499763" cy="483177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41193127"/>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374899" y="3683000"/>
            <a:ext cx="5974773" cy="1590964"/>
          </a:xfrm>
        </p:spPr>
        <p:txBody>
          <a:bodyPr/>
          <a:lstStyle/>
          <a:p>
            <a:pPr algn="just"/>
            <a:r>
              <a:rPr lang="es-CO" dirty="0"/>
              <a:t>1</a:t>
            </a:r>
            <a:r>
              <a:rPr lang="es-CO" sz="1200" dirty="0"/>
              <a:t>. </a:t>
            </a:r>
            <a:r>
              <a:rPr lang="es-CO" dirty="0"/>
              <a:t>Publicación de documentos</a:t>
            </a:r>
            <a:br>
              <a:rPr lang="es-CO" dirty="0"/>
            </a:br>
            <a:br>
              <a:rPr lang="es-MX" sz="1200" dirty="0"/>
            </a:br>
            <a:r>
              <a:rPr lang="es-CO" sz="1200" dirty="0"/>
              <a:t>Para el período 2016 se revisaron las publicaciones realizadas en los procesos de selección de la Agencia, incluyendo todas las etapas para cada modalidad de selección. El resultado es que se publicaron en el periodo comprendido entre el 1 de enero y el 31 de diciembre de 2016 1130 documentos para todas las modalidades de selección discriminados así:</a:t>
            </a:r>
            <a:endParaRPr lang="es-MX" sz="1200" dirty="0"/>
          </a:p>
        </p:txBody>
      </p:sp>
    </p:spTree>
    <p:extLst>
      <p:ext uri="{BB962C8B-B14F-4D97-AF65-F5344CB8AC3E}">
        <p14:creationId xmlns:p14="http://schemas.microsoft.com/office/powerpoint/2010/main" val="378074517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7</a:t>
            </a:fld>
            <a:endParaRPr lang="es-CO" dirty="0">
              <a:solidFill>
                <a:srgbClr val="244061">
                  <a:tint val="75000"/>
                </a:srgbClr>
              </a:solidFill>
            </a:endParaRPr>
          </a:p>
        </p:txBody>
      </p:sp>
      <p:sp>
        <p:nvSpPr>
          <p:cNvPr id="3" name="Título 2"/>
          <p:cNvSpPr>
            <a:spLocks noGrp="1"/>
          </p:cNvSpPr>
          <p:nvPr>
            <p:ph type="title"/>
          </p:nvPr>
        </p:nvSpPr>
        <p:spPr>
          <a:xfrm>
            <a:off x="295038" y="897924"/>
            <a:ext cx="8595361" cy="518984"/>
          </a:xfrm>
        </p:spPr>
        <p:txBody>
          <a:bodyPr/>
          <a:lstStyle/>
          <a:p>
            <a:r>
              <a:rPr lang="es-ES" dirty="0">
                <a:sym typeface="Candara"/>
              </a:rPr>
              <a:t>Documentos Publicados en SECOP y Página WEB</a:t>
            </a:r>
            <a:br>
              <a:rPr lang="es-ES" dirty="0">
                <a:sym typeface="Candara"/>
              </a:rPr>
            </a:br>
            <a:endParaRPr lang="es-CO" dirty="0"/>
          </a:p>
        </p:txBody>
      </p:sp>
      <p:graphicFrame>
        <p:nvGraphicFramePr>
          <p:cNvPr id="6" name="Gráfico 5"/>
          <p:cNvGraphicFramePr>
            <a:graphicFrameLocks/>
          </p:cNvGraphicFramePr>
          <p:nvPr>
            <p:extLst>
              <p:ext uri="{D42A27DB-BD31-4B8C-83A1-F6EECF244321}">
                <p14:modId xmlns:p14="http://schemas.microsoft.com/office/powerpoint/2010/main" val="71524949"/>
              </p:ext>
            </p:extLst>
          </p:nvPr>
        </p:nvGraphicFramePr>
        <p:xfrm>
          <a:off x="436419" y="1402555"/>
          <a:ext cx="8125690" cy="475925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46133064"/>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170545" y="2371437"/>
            <a:ext cx="6474691" cy="1016000"/>
          </a:xfrm>
        </p:spPr>
        <p:txBody>
          <a:bodyPr/>
          <a:lstStyle/>
          <a:p>
            <a:pPr algn="just"/>
            <a:r>
              <a:rPr lang="es-MX" dirty="0"/>
              <a:t> </a:t>
            </a:r>
            <a:r>
              <a:rPr lang="es-CO" dirty="0"/>
              <a:t>2.Tiempo para la preparación de las propuestas</a:t>
            </a:r>
            <a:br>
              <a:rPr lang="es-MX" dirty="0"/>
            </a:br>
            <a:br>
              <a:rPr lang="es-MX" dirty="0"/>
            </a:br>
            <a:r>
              <a:rPr lang="es-CO" sz="1200" dirty="0"/>
              <a:t>Es te término se cuenta como la oportunidad que da la entidad a los diferentes proponentes para presentar ofertas competitivas, de manera que se den plazos consistentes para cada modalidad de selección, de conformidad con lo establecido por la Ley.</a:t>
            </a:r>
            <a:br>
              <a:rPr lang="es-CO" sz="1200" dirty="0"/>
            </a:br>
            <a:br>
              <a:rPr lang="es-MX" sz="1200" dirty="0"/>
            </a:br>
            <a:r>
              <a:rPr lang="es-CO" sz="1200" dirty="0"/>
              <a:t>Para el período comprendido el promedio del número de días entre la apertura del proceso y la fecha de cierre, o fecha para la presentación de propuestas fue acorde con cada modalidad. Se destacan los procesos de alto impacto para la Entidad (</a:t>
            </a:r>
            <a:r>
              <a:rPr lang="es-CO" sz="1200" dirty="0" err="1"/>
              <a:t>AAP´s</a:t>
            </a:r>
            <a:r>
              <a:rPr lang="es-CO" sz="1200" dirty="0"/>
              <a:t> – IPV E IPB) seguido muy por debajo por los procesos de Licitación Pública Subasta Inversa y Concurso de Méritos).  </a:t>
            </a:r>
            <a:endParaRPr lang="es-MX" sz="1200" dirty="0"/>
          </a:p>
        </p:txBody>
      </p:sp>
    </p:spTree>
    <p:extLst>
      <p:ext uri="{BB962C8B-B14F-4D97-AF65-F5344CB8AC3E}">
        <p14:creationId xmlns:p14="http://schemas.microsoft.com/office/powerpoint/2010/main" val="2262926438"/>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9</a:t>
            </a:fld>
            <a:endParaRPr lang="es-CO" dirty="0">
              <a:solidFill>
                <a:srgbClr val="244061">
                  <a:tint val="75000"/>
                </a:srgbClr>
              </a:solidFill>
            </a:endParaRPr>
          </a:p>
        </p:txBody>
      </p:sp>
      <p:sp>
        <p:nvSpPr>
          <p:cNvPr id="3" name="Título 2"/>
          <p:cNvSpPr>
            <a:spLocks noGrp="1"/>
          </p:cNvSpPr>
          <p:nvPr>
            <p:ph type="title"/>
          </p:nvPr>
        </p:nvSpPr>
        <p:spPr>
          <a:xfrm>
            <a:off x="295038" y="897924"/>
            <a:ext cx="8595361" cy="518984"/>
          </a:xfrm>
        </p:spPr>
        <p:txBody>
          <a:bodyPr/>
          <a:lstStyle/>
          <a:p>
            <a:r>
              <a:rPr lang="es-ES" dirty="0">
                <a:sym typeface="Candara"/>
              </a:rPr>
              <a:t>Días entre la apertura del proceso y cierre (Por modalidad)</a:t>
            </a:r>
            <a:br>
              <a:rPr lang="es-ES" dirty="0">
                <a:sym typeface="Candara"/>
              </a:rPr>
            </a:br>
            <a:endParaRPr lang="es-CO" dirty="0"/>
          </a:p>
        </p:txBody>
      </p:sp>
      <p:graphicFrame>
        <p:nvGraphicFramePr>
          <p:cNvPr id="6" name="Gráfico 5"/>
          <p:cNvGraphicFramePr>
            <a:graphicFrameLocks/>
          </p:cNvGraphicFramePr>
          <p:nvPr>
            <p:extLst>
              <p:ext uri="{D42A27DB-BD31-4B8C-83A1-F6EECF244321}">
                <p14:modId xmlns:p14="http://schemas.microsoft.com/office/powerpoint/2010/main" val="3500808710"/>
              </p:ext>
            </p:extLst>
          </p:nvPr>
        </p:nvGraphicFramePr>
        <p:xfrm>
          <a:off x="540327" y="1319645"/>
          <a:ext cx="8133773" cy="477981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09150753"/>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2.69891059609000020000E+000&quot;&gt;&lt;m_ppcolschidx val=&quot;0&quot;/&gt;&lt;m_rgb r=&quot;95&quot; g=&quot;b3&quot; b=&quot;d7&quot;/&gt;&lt;/elem&gt;&lt;elem m_fUsage=&quot;2.27611758283289990000E+000&quot;&gt;&lt;m_ppcolschidx val=&quot;0&quot;/&gt;&lt;m_rgb r=&quot;7f&quot; g=&quot;7f&quot; b=&quot;7f&quot;/&gt;&lt;/elem&gt;&lt;elem m_fUsage=&quot;1.94753203454961050000E+000&quot;&gt;&lt;m_ppcolschidx val=&quot;0&quot;/&gt;&lt;m_rgb r=&quot;bf&quot; g=&quot;bf&quot; b=&quot;bf&quot;/&gt;&lt;/elem&gt;&lt;elem m_fUsage=&quot;1.21361826373501590000E+000&quot;&gt;&lt;m_ppcolschidx val=&quot;0&quot;/&gt;&lt;m_rgb r=&quot;36&quot; g=&quot;60&quot; b=&quot;92&quot;/&gt;&lt;/elem&gt;&lt;elem m_fUsage=&quot;1.02635124360039480000E+000&quot;&gt;&lt;m_ppcolschidx val=&quot;0&quot;/&gt;&lt;m_rgb r=&quot;d9&quot; g=&quot;d9&quot; b=&quot;d9&quot;/&gt;&lt;/elem&gt;&lt;elem m_fUsage=&quot;2.88210765068180720000E-001&quot;&gt;&lt;m_ppcolschidx val=&quot;0&quot;/&gt;&lt;m_rgb r=&quot;24&quot; g=&quot;40&quot; b=&quot;61&quot;/&gt;&lt;/elem&gt;&lt;elem m_fUsage=&quot;2.05891132094649100000E-001&quot;&gt;&lt;m_ppcolschidx val=&quot;0&quot;/&gt;&lt;m_rgb r=&quot;a6&quot; g=&quot;a6&quot; b=&quot;a6&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19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RVFNPLT8Ua98uLBCIL4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vHQrVme_EeqJHHqOdgx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xtJt2Wj10eKpMgU4_al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16YG7AWgUWRMd25FpTc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njxhAqMzkC79VmyB5OJ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daBqouLVE.2phnNOznu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heme/theme1.xml><?xml version="1.0" encoding="utf-8"?>
<a:theme xmlns:a="http://schemas.openxmlformats.org/drawingml/2006/main" name="plantilla ANI">
  <a:themeElements>
    <a:clrScheme name="ANI2">
      <a:dk1>
        <a:srgbClr val="386295"/>
      </a:dk1>
      <a:lt1>
        <a:sysClr val="window" lastClr="FFFFFF"/>
      </a:lt1>
      <a:dk2>
        <a:srgbClr val="244061"/>
      </a:dk2>
      <a:lt2>
        <a:srgbClr val="B8CCE4"/>
      </a:lt2>
      <a:accent1>
        <a:srgbClr val="D9D9D9"/>
      </a:accent1>
      <a:accent2>
        <a:srgbClr val="A6A6A6"/>
      </a:accent2>
      <a:accent3>
        <a:srgbClr val="7F7F7F"/>
      </a:accent3>
      <a:accent4>
        <a:srgbClr val="424242"/>
      </a:accent4>
      <a:accent5>
        <a:srgbClr val="E36C09"/>
      </a:accent5>
      <a:accent6>
        <a:srgbClr val="366092"/>
      </a:accent6>
      <a:hlink>
        <a:srgbClr val="244061"/>
      </a:hlink>
      <a:folHlink>
        <a:srgbClr val="1C314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spcBef>
            <a:spcPts val="600"/>
          </a:spcBef>
          <a:spcAft>
            <a:spcPts val="600"/>
          </a:spcAft>
          <a:buClr>
            <a:schemeClr val="accent2"/>
          </a:buClr>
          <a:buSzPct val="120000"/>
          <a:defRPr dirty="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20445</TotalTime>
  <Words>336</Words>
  <Application>Microsoft Office PowerPoint</Application>
  <PresentationFormat>Presentación en pantalla (4:3)</PresentationFormat>
  <Paragraphs>82</Paragraphs>
  <Slides>20</Slides>
  <Notes>1</Notes>
  <HiddenSlides>0</HiddenSlides>
  <MMClips>0</MMClips>
  <ScaleCrop>false</ScaleCrop>
  <HeadingPairs>
    <vt:vector size="8" baseType="variant">
      <vt:variant>
        <vt:lpstr>Fuentes usadas</vt:lpstr>
      </vt:variant>
      <vt:variant>
        <vt:i4>3</vt:i4>
      </vt:variant>
      <vt:variant>
        <vt:lpstr>Tema</vt:lpstr>
      </vt:variant>
      <vt:variant>
        <vt:i4>1</vt:i4>
      </vt:variant>
      <vt:variant>
        <vt:lpstr>Servidores OLE incrustados</vt:lpstr>
      </vt:variant>
      <vt:variant>
        <vt:i4>1</vt:i4>
      </vt:variant>
      <vt:variant>
        <vt:lpstr>Títulos de diapositiva</vt:lpstr>
      </vt:variant>
      <vt:variant>
        <vt:i4>20</vt:i4>
      </vt:variant>
    </vt:vector>
  </HeadingPairs>
  <TitlesOfParts>
    <vt:vector size="25" baseType="lpstr">
      <vt:lpstr>Arial</vt:lpstr>
      <vt:lpstr>Calibri</vt:lpstr>
      <vt:lpstr>Candara</vt:lpstr>
      <vt:lpstr>plantilla ANI</vt:lpstr>
      <vt:lpstr>think-cell Slide</vt:lpstr>
      <vt:lpstr>ESTADÍSTICAS GESTIÓN DE LA CONTRATACIÓN PÚBLICA DE LA ANI.</vt:lpstr>
      <vt:lpstr>PROCESOS 2016. Fuente: https://www.contratos.gov.co/consultas/inicioConsulta.do </vt:lpstr>
      <vt:lpstr>Procesos 2016 por Modalidad de Selección </vt:lpstr>
      <vt:lpstr>Procesos 2016 por Modalidad de Selección(Incluye Cont. Directa) </vt:lpstr>
      <vt:lpstr>Procesos 2016 Valor total procesos VS. valor por modalidad</vt:lpstr>
      <vt:lpstr>1. Publicación de documentos  Para el período 2016 se revisaron las publicaciones realizadas en los procesos de selección de la Agencia, incluyendo todas las etapas para cada modalidad de selección. El resultado es que se publicaron en el periodo comprendido entre el 1 de enero y el 31 de diciembre de 2016 1130 documentos para todas las modalidades de selección discriminados así:</vt:lpstr>
      <vt:lpstr>Documentos Publicados en SECOP y Página WEB </vt:lpstr>
      <vt:lpstr> 2.Tiempo para la preparación de las propuestas  Es te término se cuenta como la oportunidad que da la entidad a los diferentes proponentes para presentar ofertas competitivas, de manera que se den plazos consistentes para cada modalidad de selección, de conformidad con lo establecido por la Ley.  Para el período comprendido el promedio del número de días entre la apertura del proceso y la fecha de cierre, o fecha para la presentación de propuestas fue acorde con cada modalidad. Se destacan los procesos de alto impacto para la Entidad (AAP´s – IPV E IPB) seguido muy por debajo por los procesos de Licitación Pública Subasta Inversa y Concurso de Méritos).  </vt:lpstr>
      <vt:lpstr>Días entre la apertura del proceso y cierre (Por modalidad) </vt:lpstr>
      <vt:lpstr>3. Tiempo de duración de los procesos de selección  Para el período comprendido el promedio del número de días entre la apertura del proceso y la adjudicación fue acorde con cada modalidad, esto es el término de duración total para cada modalidad de selección.  Se destacan los procesos de alto impacto para la Entidad (APP´s y muy por debajo se encuentran los procesos de Concurso de Méritos y Subasta inversa).  Los procesos de Selección Abreviada tienen en promedio el mismo tiempo de los procesos de Licitación Pública. </vt:lpstr>
      <vt:lpstr>Días promedio entre la apertura y la adjudicación </vt:lpstr>
      <vt:lpstr>4. Participación de Proponentes   Para el período comprendido se presentaron dentro de los 54 procesos competitivos adelantados por la Agencia, 589 propuestas. La modalidad de selección que más proponentes atrae por el valor son los concursos de méritos con 344 propuestas en 11 procesos con un promedio de 31 propuestas por proceso de selección; la mínima cuantía con 99 propuestas para 25 procesos con un promedio de 4 propuestas por proceso y la selección Abreviada incluida la Subasta Inversa con 98 propuestas en 7 procesos con un promedio de 14 propuestas por proceso.</vt:lpstr>
      <vt:lpstr>Participación en procesos de selección </vt:lpstr>
      <vt:lpstr>4.          Procesos Desiertos   Hace referencia a aquellos contratos cuya vocación de ser adjudicados, se vio truncada o por ausencia de proponentes o por que habiendo existido proponentes, los mismos no cumplieron con los requisitos establecidos en el pliego de condiciones; para el período evaluado el reporte es de 5 procesos declarados desiertos: 1 IPB, 2 Concursos de Méritos y 2 procesos de Mínima cuantía.</vt:lpstr>
      <vt:lpstr>Desiertos por modalidad de selección </vt:lpstr>
      <vt:lpstr>5. Procesos cancelados   Hace referencia a aquellos procesos que fueron terminados anormalmente antes de su adjudicación.  Generalmente se debe a un acto unilateral de la administración; para el período evaluado el reporte de procesos cancelados fue de  1 proceso cancelado unilateralmente por la Administración relacionado con la Mínima cuantía.</vt:lpstr>
      <vt:lpstr>6.Adendas   Hace referencia a las modificaciones realizadas a los pliegos de condiciones y a los avisos modificatorios realizados para cada uno de los procesos competitivos adelantados por la entidad.  Las adendas se discriminan por modalidad de selección y según si modifican el contenido de los pliegos de condiciones o aquellas adendas modificatorias de los plazos del proceso de selección:  63 adendas en total; de estas, existen 33 modificando el plazo del contrato, siendo el concurso de méritos el proceso con mayor número de adendas (16). 25adendas que modifican pliegos de condiciones, siendo las IPB la modalidad con mayor número de adendas con 9, seguido de la selección abreviada y el Concurso de méritos con 5 adendas para cada modalidad; 75adendas mixtas que modifican tanto plazo como pliegos, siendo el concurso de méritos el proceso con mayor número de adendas mixtas (3) y el procesos de SA/IPV con 2.</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argarita</dc:creator>
  <cp:lastModifiedBy>Cesar Augusto Garcia Montoya</cp:lastModifiedBy>
  <cp:revision>236</cp:revision>
  <cp:lastPrinted>2015-09-30T21:09:15Z</cp:lastPrinted>
  <dcterms:created xsi:type="dcterms:W3CDTF">2015-03-20T20:44:41Z</dcterms:created>
  <dcterms:modified xsi:type="dcterms:W3CDTF">2017-08-17T21:54:40Z</dcterms:modified>
</cp:coreProperties>
</file>